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648" r:id="rId5"/>
    <p:sldMasterId id="2147483654" r:id="rId6"/>
    <p:sldMasterId id="2147483825" r:id="rId7"/>
    <p:sldMasterId id="2147483871" r:id="rId8"/>
    <p:sldMasterId id="2147483877" r:id="rId9"/>
  </p:sldMasterIdLst>
  <p:notesMasterIdLst>
    <p:notesMasterId r:id="rId36"/>
  </p:notesMasterIdLst>
  <p:handoutMasterIdLst>
    <p:handoutMasterId r:id="rId37"/>
  </p:handoutMasterIdLst>
  <p:sldIdLst>
    <p:sldId id="263" r:id="rId10"/>
    <p:sldId id="593" r:id="rId11"/>
    <p:sldId id="659" r:id="rId12"/>
    <p:sldId id="592" r:id="rId13"/>
    <p:sldId id="597" r:id="rId14"/>
    <p:sldId id="598" r:id="rId15"/>
    <p:sldId id="599" r:id="rId16"/>
    <p:sldId id="601" r:id="rId17"/>
    <p:sldId id="602" r:id="rId18"/>
    <p:sldId id="603" r:id="rId19"/>
    <p:sldId id="604" r:id="rId20"/>
    <p:sldId id="653" r:id="rId21"/>
    <p:sldId id="609" r:id="rId22"/>
    <p:sldId id="610" r:id="rId23"/>
    <p:sldId id="654" r:id="rId24"/>
    <p:sldId id="613" r:id="rId25"/>
    <p:sldId id="614" r:id="rId26"/>
    <p:sldId id="615" r:id="rId27"/>
    <p:sldId id="616" r:id="rId28"/>
    <p:sldId id="655" r:id="rId29"/>
    <p:sldId id="617" r:id="rId30"/>
    <p:sldId id="618" r:id="rId31"/>
    <p:sldId id="637" r:id="rId32"/>
    <p:sldId id="641" r:id="rId33"/>
    <p:sldId id="642" r:id="rId34"/>
    <p:sldId id="645" r:id="rId35"/>
  </p:sldIdLst>
  <p:sldSz cx="9144000" cy="6858000" type="screen4x3"/>
  <p:notesSz cx="6797675" cy="9926638"/>
  <p:custDataLst>
    <p:tags r:id="rId38"/>
  </p:custDataLst>
  <p:defaultTextStyle>
    <a:defPPr>
      <a:defRPr lang="de-DE"/>
    </a:defPPr>
    <a:lvl1pPr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64"/>
    <a:srgbClr val="9ABB65"/>
    <a:srgbClr val="C4DAAA"/>
    <a:srgbClr val="F7B237"/>
    <a:srgbClr val="85C858"/>
    <a:srgbClr val="79C6F3"/>
    <a:srgbClr val="336699"/>
    <a:srgbClr val="66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471" autoAdjust="0"/>
  </p:normalViewPr>
  <p:slideViewPr>
    <p:cSldViewPr>
      <p:cViewPr varScale="1">
        <p:scale>
          <a:sx n="96" d="100"/>
          <a:sy n="96" d="100"/>
        </p:scale>
        <p:origin x="1956"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s>
</file>

<file path=ppt/diagrams/_rels/data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DE6180-1FCB-496B-A7CA-3BBB534A0463}"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de-DE"/>
        </a:p>
      </dgm:t>
    </dgm:pt>
    <dgm:pt modelId="{C23CF47C-736F-40A3-B110-AC4CCFE19056}">
      <dgm:prSet phldrT="[Text]" custT="1"/>
      <dgm:spPr/>
      <dgm:t>
        <a:bodyPr/>
        <a:lstStyle/>
        <a:p>
          <a:r>
            <a:rPr lang="de-DE" sz="1600" b="1" dirty="0" smtClean="0">
              <a:solidFill>
                <a:schemeClr val="accent2"/>
              </a:solidFill>
              <a:latin typeface="Calibri"/>
              <a:cs typeface="Calibri"/>
            </a:rPr>
            <a:t>Baustein 1: </a:t>
          </a:r>
          <a:r>
            <a:rPr lang="de-DE" sz="1600" b="0" dirty="0" smtClean="0">
              <a:solidFill>
                <a:srgbClr val="003264"/>
              </a:solidFill>
              <a:latin typeface="Calibri"/>
              <a:cs typeface="Calibri"/>
            </a:rPr>
            <a:t>Heterogenität: Verständnis </a:t>
          </a:r>
          <a:br>
            <a:rPr lang="de-DE" sz="1600" b="0" dirty="0" smtClean="0">
              <a:solidFill>
                <a:srgbClr val="003264"/>
              </a:solidFill>
              <a:latin typeface="Calibri"/>
              <a:cs typeface="Calibri"/>
            </a:rPr>
          </a:br>
          <a:r>
            <a:rPr lang="de-DE" sz="1600" b="0" dirty="0" smtClean="0">
              <a:solidFill>
                <a:srgbClr val="003264"/>
              </a:solidFill>
              <a:latin typeface="Calibri"/>
              <a:cs typeface="Calibri"/>
            </a:rPr>
            <a:t>und Praxisreflexion als Voraussetzungen </a:t>
          </a:r>
          <a:br>
            <a:rPr lang="de-DE" sz="1600" b="0" dirty="0" smtClean="0">
              <a:solidFill>
                <a:srgbClr val="003264"/>
              </a:solidFill>
              <a:latin typeface="Calibri"/>
              <a:cs typeface="Calibri"/>
            </a:rPr>
          </a:br>
          <a:r>
            <a:rPr lang="de-DE" sz="1600" b="0" dirty="0" smtClean="0">
              <a:solidFill>
                <a:srgbClr val="003264"/>
              </a:solidFill>
              <a:latin typeface="Calibri"/>
              <a:cs typeface="Calibri"/>
            </a:rPr>
            <a:t>für gemeinsames Handeln</a:t>
          </a:r>
          <a:endParaRPr lang="de-DE" sz="1600" b="0" dirty="0">
            <a:solidFill>
              <a:srgbClr val="003264"/>
            </a:solidFill>
            <a:latin typeface="Calibri"/>
            <a:cs typeface="Calibri"/>
          </a:endParaRPr>
        </a:p>
      </dgm:t>
    </dgm:pt>
    <dgm:pt modelId="{295BDEA7-B3CA-4256-AEA3-D2D848B13CC5}" type="parTrans" cxnId="{99B2C8A5-4F23-44F7-941B-C409D5419B1E}">
      <dgm:prSet/>
      <dgm:spPr/>
      <dgm:t>
        <a:bodyPr/>
        <a:lstStyle/>
        <a:p>
          <a:endParaRPr lang="de-DE" sz="1400">
            <a:solidFill>
              <a:srgbClr val="003264"/>
            </a:solidFill>
            <a:latin typeface="Calibri"/>
            <a:cs typeface="Calibri"/>
          </a:endParaRPr>
        </a:p>
      </dgm:t>
    </dgm:pt>
    <dgm:pt modelId="{638756D7-9000-4CAA-9F26-A8E34F420860}" type="sibTrans" cxnId="{99B2C8A5-4F23-44F7-941B-C409D5419B1E}">
      <dgm:prSet/>
      <dgm:spPr/>
      <dgm:t>
        <a:bodyPr/>
        <a:lstStyle/>
        <a:p>
          <a:endParaRPr lang="de-DE" sz="1400">
            <a:solidFill>
              <a:srgbClr val="003264"/>
            </a:solidFill>
            <a:latin typeface="Calibri"/>
            <a:cs typeface="Calibri"/>
          </a:endParaRPr>
        </a:p>
      </dgm:t>
    </dgm:pt>
    <dgm:pt modelId="{5324763C-1A81-4348-9A0D-84F646587AFC}">
      <dgm:prSet custT="1"/>
      <dgm:spPr/>
      <dgm:t>
        <a:bodyPr/>
        <a:lstStyle/>
        <a:p>
          <a:r>
            <a:rPr lang="de-DE" sz="1600" b="1" dirty="0" smtClean="0">
              <a:solidFill>
                <a:srgbClr val="003264"/>
              </a:solidFill>
              <a:latin typeface="Calibri"/>
              <a:cs typeface="Calibri"/>
            </a:rPr>
            <a:t>Baustein 4: </a:t>
          </a:r>
          <a:r>
            <a:rPr lang="de-DE" sz="1600" b="0" dirty="0" smtClean="0">
              <a:solidFill>
                <a:srgbClr val="003264"/>
              </a:solidFill>
              <a:latin typeface="Calibri"/>
              <a:cs typeface="Calibri"/>
            </a:rPr>
            <a:t>Planung und Durchführung von Entwicklungsmaßnahmen im Bereich Classroom-Management (oder einem anderen Bereich)</a:t>
          </a:r>
          <a:endParaRPr lang="de-DE" sz="1400" b="0" dirty="0">
            <a:solidFill>
              <a:srgbClr val="003264"/>
            </a:solidFill>
            <a:latin typeface="Calibri"/>
            <a:cs typeface="Calibri"/>
          </a:endParaRPr>
        </a:p>
      </dgm:t>
    </dgm:pt>
    <dgm:pt modelId="{3E491611-C593-4CE7-9142-0643827794A7}" type="parTrans" cxnId="{3F5A306F-052C-4044-B179-94DCF7C6CCBC}">
      <dgm:prSet/>
      <dgm:spPr/>
      <dgm:t>
        <a:bodyPr/>
        <a:lstStyle/>
        <a:p>
          <a:endParaRPr lang="de-DE" sz="1400">
            <a:solidFill>
              <a:srgbClr val="003264"/>
            </a:solidFill>
            <a:latin typeface="Calibri"/>
            <a:cs typeface="Calibri"/>
          </a:endParaRPr>
        </a:p>
      </dgm:t>
    </dgm:pt>
    <dgm:pt modelId="{D876454A-0F7B-468A-87FE-A43714DED7BC}" type="sibTrans" cxnId="{3F5A306F-052C-4044-B179-94DCF7C6CCBC}">
      <dgm:prSet/>
      <dgm:spPr/>
      <dgm:t>
        <a:bodyPr/>
        <a:lstStyle/>
        <a:p>
          <a:endParaRPr lang="de-DE" sz="1400">
            <a:solidFill>
              <a:srgbClr val="003264"/>
            </a:solidFill>
            <a:latin typeface="Calibri"/>
            <a:cs typeface="Calibri"/>
          </a:endParaRPr>
        </a:p>
      </dgm:t>
    </dgm:pt>
    <dgm:pt modelId="{E2A3F4B2-30DC-45BD-A344-AAE6C4D390B6}">
      <dgm:prSet custT="1"/>
      <dgm:spPr/>
      <dgm:t>
        <a:bodyPr/>
        <a:lstStyle/>
        <a:p>
          <a:pPr rtl="0"/>
          <a:r>
            <a:rPr lang="de-DE" sz="1600" b="1" dirty="0" smtClean="0">
              <a:solidFill>
                <a:schemeClr val="accent1"/>
              </a:solidFill>
              <a:latin typeface="Calibri"/>
              <a:cs typeface="Calibri"/>
            </a:rPr>
            <a:t>Baustein 3: </a:t>
          </a:r>
          <a:r>
            <a:rPr lang="de-DE" sz="1600" b="0" dirty="0" smtClean="0">
              <a:solidFill>
                <a:srgbClr val="003264"/>
              </a:solidFill>
              <a:latin typeface="Calibri"/>
              <a:cs typeface="Calibri"/>
            </a:rPr>
            <a:t>Kollegiale Unterrichts-hospitation zum Entwicklungsbereich Classroom-Management (ggf. auch einem anderen Entwicklungsbereich)</a:t>
          </a:r>
        </a:p>
      </dgm:t>
    </dgm:pt>
    <dgm:pt modelId="{1370E3A9-B9D0-4DD1-BDAA-7C28C68CFC64}" type="parTrans" cxnId="{6F81CA38-A4B7-42F8-8C11-E3E4CAD33646}">
      <dgm:prSet/>
      <dgm:spPr/>
      <dgm:t>
        <a:bodyPr/>
        <a:lstStyle/>
        <a:p>
          <a:endParaRPr lang="de-DE" sz="1400">
            <a:solidFill>
              <a:srgbClr val="003264"/>
            </a:solidFill>
            <a:latin typeface="Calibri"/>
            <a:cs typeface="Calibri"/>
          </a:endParaRPr>
        </a:p>
      </dgm:t>
    </dgm:pt>
    <dgm:pt modelId="{71517CD7-A376-4008-87C2-C8654D0F3CCC}" type="sibTrans" cxnId="{6F81CA38-A4B7-42F8-8C11-E3E4CAD33646}">
      <dgm:prSet/>
      <dgm:spPr/>
      <dgm:t>
        <a:bodyPr/>
        <a:lstStyle/>
        <a:p>
          <a:endParaRPr lang="de-DE" sz="1400">
            <a:solidFill>
              <a:srgbClr val="003264"/>
            </a:solidFill>
            <a:latin typeface="Calibri"/>
            <a:cs typeface="Calibri"/>
          </a:endParaRPr>
        </a:p>
      </dgm:t>
    </dgm:pt>
    <dgm:pt modelId="{AC77C9F2-F481-4E04-8093-408E4E963C25}">
      <dgm:prSet phldrT="[Text]" custT="1"/>
      <dgm:spPr/>
      <dgm:t>
        <a:bodyPr/>
        <a:lstStyle/>
        <a:p>
          <a:r>
            <a:rPr lang="de-DE" sz="1600" b="1" dirty="0" smtClean="0">
              <a:solidFill>
                <a:schemeClr val="accent4"/>
              </a:solidFill>
              <a:latin typeface="Calibri"/>
              <a:cs typeface="Calibri"/>
            </a:rPr>
            <a:t>Baustein 2: </a:t>
          </a:r>
          <a:r>
            <a:rPr lang="de-DE" sz="1600" b="0" dirty="0" smtClean="0">
              <a:solidFill>
                <a:srgbClr val="003264"/>
              </a:solidFill>
              <a:latin typeface="Calibri"/>
              <a:cs typeface="Calibri"/>
            </a:rPr>
            <a:t>Teams bilden – stärken – entwickeln </a:t>
          </a:r>
          <a:endParaRPr lang="de-DE" sz="1600" b="0" dirty="0">
            <a:solidFill>
              <a:srgbClr val="003264"/>
            </a:solidFill>
            <a:latin typeface="Calibri"/>
            <a:cs typeface="Calibri"/>
          </a:endParaRPr>
        </a:p>
      </dgm:t>
    </dgm:pt>
    <dgm:pt modelId="{B3F177FE-B87B-4E2E-BCDB-6B8882880730}" type="parTrans" cxnId="{EA0AFC86-903A-45CC-A623-E197BD886254}">
      <dgm:prSet/>
      <dgm:spPr/>
      <dgm:t>
        <a:bodyPr/>
        <a:lstStyle/>
        <a:p>
          <a:endParaRPr lang="de-DE"/>
        </a:p>
      </dgm:t>
    </dgm:pt>
    <dgm:pt modelId="{2C058ACF-9D3A-4F44-BC91-8B279BFAC44F}" type="sibTrans" cxnId="{EA0AFC86-903A-45CC-A623-E197BD886254}">
      <dgm:prSet/>
      <dgm:spPr/>
      <dgm:t>
        <a:bodyPr/>
        <a:lstStyle/>
        <a:p>
          <a:endParaRPr lang="de-DE"/>
        </a:p>
      </dgm:t>
    </dgm:pt>
    <dgm:pt modelId="{CBBD3987-1B82-4322-8570-AC48713F8257}" type="pres">
      <dgm:prSet presAssocID="{B3DE6180-1FCB-496B-A7CA-3BBB534A0463}" presName="arrowDiagram" presStyleCnt="0">
        <dgm:presLayoutVars>
          <dgm:chMax val="5"/>
          <dgm:dir/>
          <dgm:resizeHandles val="exact"/>
        </dgm:presLayoutVars>
      </dgm:prSet>
      <dgm:spPr/>
      <dgm:t>
        <a:bodyPr/>
        <a:lstStyle/>
        <a:p>
          <a:endParaRPr lang="de-DE"/>
        </a:p>
      </dgm:t>
    </dgm:pt>
    <dgm:pt modelId="{C98E65B7-86AB-4863-9C98-CD722BD2E065}" type="pres">
      <dgm:prSet presAssocID="{B3DE6180-1FCB-496B-A7CA-3BBB534A0463}" presName="arrow" presStyleLbl="bgShp" presStyleIdx="0" presStyleCnt="1" custScaleX="114352" custScaleY="100000" custLinFactNeighborX="6579" custLinFactNeighborY="356"/>
      <dgm:spPr>
        <a:solidFill>
          <a:schemeClr val="accent1">
            <a:lumMod val="60000"/>
            <a:lumOff val="40000"/>
          </a:schemeClr>
        </a:solidFill>
      </dgm:spPr>
      <dgm:t>
        <a:bodyPr/>
        <a:lstStyle/>
        <a:p>
          <a:endParaRPr lang="de-DE"/>
        </a:p>
      </dgm:t>
    </dgm:pt>
    <dgm:pt modelId="{AFBA0404-7FAC-44E2-A3E7-D23D6936A975}" type="pres">
      <dgm:prSet presAssocID="{B3DE6180-1FCB-496B-A7CA-3BBB534A0463}" presName="arrowDiagram4" presStyleCnt="0"/>
      <dgm:spPr/>
    </dgm:pt>
    <dgm:pt modelId="{6BE66FB2-115A-4932-A182-98A70E19DE51}" type="pres">
      <dgm:prSet presAssocID="{C23CF47C-736F-40A3-B110-AC4CCFE19056}" presName="bullet4a" presStyleLbl="node1" presStyleIdx="0" presStyleCnt="4" custLinFactX="-36305" custLinFactNeighborX="-100000" custLinFactNeighborY="-63851"/>
      <dgm:spPr>
        <a:blipFill rotWithShape="0">
          <a:blip xmlns:r="http://schemas.openxmlformats.org/officeDocument/2006/relationships" r:embed="rId1"/>
          <a:stretch>
            <a:fillRect/>
          </a:stretch>
        </a:blipFill>
        <a:ln w="0" cap="flat" cmpd="sng" algn="ctr">
          <a:solidFill>
            <a:schemeClr val="lt1">
              <a:hueOff val="0"/>
              <a:satOff val="0"/>
              <a:lumOff val="0"/>
            </a:schemeClr>
          </a:solidFill>
          <a:prstDash val="solid"/>
          <a:round/>
          <a:headEnd type="none" w="med" len="med"/>
          <a:tailEnd type="none" w="med" len="med"/>
        </a:ln>
      </dgm:spPr>
      <dgm:t>
        <a:bodyPr/>
        <a:lstStyle/>
        <a:p>
          <a:endParaRPr lang="de-DE"/>
        </a:p>
      </dgm:t>
    </dgm:pt>
    <dgm:pt modelId="{8D8793CF-6F4F-4D67-BB00-694E577F1B35}" type="pres">
      <dgm:prSet presAssocID="{C23CF47C-736F-40A3-B110-AC4CCFE19056}" presName="textBox4a" presStyleLbl="revTx" presStyleIdx="0" presStyleCnt="4" custScaleX="301987" custScaleY="75295" custLinFactNeighborX="88177" custLinFactNeighborY="-1811">
        <dgm:presLayoutVars>
          <dgm:bulletEnabled val="1"/>
        </dgm:presLayoutVars>
      </dgm:prSet>
      <dgm:spPr/>
      <dgm:t>
        <a:bodyPr/>
        <a:lstStyle/>
        <a:p>
          <a:endParaRPr lang="de-DE"/>
        </a:p>
      </dgm:t>
    </dgm:pt>
    <dgm:pt modelId="{6671453C-74C2-4E4F-8E01-6A972F0B7C13}" type="pres">
      <dgm:prSet presAssocID="{AC77C9F2-F481-4E04-8093-408E4E963C25}" presName="bullet4b" presStyleLbl="node1" presStyleIdx="1" presStyleCnt="4" custLinFactNeighborY="-8775"/>
      <dgm:spPr>
        <a:blipFill rotWithShape="0">
          <a:blip xmlns:r="http://schemas.openxmlformats.org/officeDocument/2006/relationships" r:embed="rId2"/>
          <a:stretch>
            <a:fillRect/>
          </a:stretch>
        </a:blipFill>
        <a:ln w="12700" cap="flat" cmpd="sng" algn="ctr">
          <a:solidFill>
            <a:schemeClr val="bg1"/>
          </a:solidFill>
          <a:prstDash val="solid"/>
          <a:round/>
          <a:headEnd type="none" w="med" len="med"/>
          <a:tailEnd type="none" w="med" len="med"/>
        </a:ln>
      </dgm:spPr>
      <dgm:t>
        <a:bodyPr/>
        <a:lstStyle/>
        <a:p>
          <a:endParaRPr lang="de-DE"/>
        </a:p>
      </dgm:t>
    </dgm:pt>
    <dgm:pt modelId="{B119A069-9F44-41EB-8CA8-2F699F621825}" type="pres">
      <dgm:prSet presAssocID="{AC77C9F2-F481-4E04-8093-408E4E963C25}" presName="textBox4b" presStyleLbl="revTx" presStyleIdx="1" presStyleCnt="4" custScaleX="175007" custScaleY="38024" custLinFactX="-37320" custLinFactNeighborX="-100000" custLinFactNeighborY="-61859">
        <dgm:presLayoutVars>
          <dgm:bulletEnabled val="1"/>
        </dgm:presLayoutVars>
      </dgm:prSet>
      <dgm:spPr/>
      <dgm:t>
        <a:bodyPr/>
        <a:lstStyle/>
        <a:p>
          <a:endParaRPr lang="de-DE"/>
        </a:p>
      </dgm:t>
    </dgm:pt>
    <dgm:pt modelId="{795CD83A-80FF-4A8E-9210-30DC56AE437E}" type="pres">
      <dgm:prSet presAssocID="{E2A3F4B2-30DC-45BD-A344-AAE6C4D390B6}" presName="bullet4c" presStyleLbl="node1" presStyleIdx="2" presStyleCnt="4" custLinFactNeighborY="12985"/>
      <dgm:spPr>
        <a:solidFill>
          <a:schemeClr val="accent1"/>
        </a:solidFill>
        <a:ln w="25400" cap="flat" cmpd="sng" algn="ctr">
          <a:solidFill>
            <a:schemeClr val="lt1">
              <a:hueOff val="0"/>
              <a:satOff val="0"/>
              <a:lumOff val="0"/>
            </a:schemeClr>
          </a:solidFill>
          <a:prstDash val="solid"/>
          <a:round/>
          <a:headEnd type="none" w="med" len="med"/>
          <a:tailEnd type="none" w="med" len="med"/>
        </a:ln>
      </dgm:spPr>
      <dgm:t>
        <a:bodyPr/>
        <a:lstStyle/>
        <a:p>
          <a:endParaRPr lang="de-DE"/>
        </a:p>
      </dgm:t>
    </dgm:pt>
    <dgm:pt modelId="{3832A95A-970C-439E-A867-58CA754321A7}" type="pres">
      <dgm:prSet presAssocID="{E2A3F4B2-30DC-45BD-A344-AAE6C4D390B6}" presName="textBox4c" presStyleLbl="revTx" presStyleIdx="2" presStyleCnt="4" custScaleX="249229" custScaleY="27125" custLinFactNeighborX="52051" custLinFactNeighborY="-16956">
        <dgm:presLayoutVars>
          <dgm:bulletEnabled val="1"/>
        </dgm:presLayoutVars>
      </dgm:prSet>
      <dgm:spPr/>
      <dgm:t>
        <a:bodyPr/>
        <a:lstStyle/>
        <a:p>
          <a:endParaRPr lang="de-DE"/>
        </a:p>
      </dgm:t>
    </dgm:pt>
    <dgm:pt modelId="{5182B6D7-7D55-4F28-8587-A333264E2447}" type="pres">
      <dgm:prSet presAssocID="{5324763C-1A81-4348-9A0D-84F646587AFC}" presName="bullet4d" presStyleLbl="node1" presStyleIdx="3" presStyleCnt="4" custLinFactNeighborY="22006"/>
      <dgm:spPr>
        <a:solidFill>
          <a:schemeClr val="tx1"/>
        </a:solidFill>
      </dgm:spPr>
      <dgm:t>
        <a:bodyPr/>
        <a:lstStyle/>
        <a:p>
          <a:endParaRPr lang="de-DE"/>
        </a:p>
      </dgm:t>
    </dgm:pt>
    <dgm:pt modelId="{87FAC6EE-B9B3-4AF5-B801-57A275616093}" type="pres">
      <dgm:prSet presAssocID="{5324763C-1A81-4348-9A0D-84F646587AFC}" presName="textBox4d" presStyleLbl="revTx" presStyleIdx="3" presStyleCnt="4" custScaleX="238338" custScaleY="37141" custLinFactX="-15899" custLinFactNeighborX="-100000" custLinFactNeighborY="-68564">
        <dgm:presLayoutVars>
          <dgm:bulletEnabled val="1"/>
        </dgm:presLayoutVars>
      </dgm:prSet>
      <dgm:spPr/>
      <dgm:t>
        <a:bodyPr/>
        <a:lstStyle/>
        <a:p>
          <a:endParaRPr lang="de-DE"/>
        </a:p>
      </dgm:t>
    </dgm:pt>
  </dgm:ptLst>
  <dgm:cxnLst>
    <dgm:cxn modelId="{3F5A306F-052C-4044-B179-94DCF7C6CCBC}" srcId="{B3DE6180-1FCB-496B-A7CA-3BBB534A0463}" destId="{5324763C-1A81-4348-9A0D-84F646587AFC}" srcOrd="3" destOrd="0" parTransId="{3E491611-C593-4CE7-9142-0643827794A7}" sibTransId="{D876454A-0F7B-468A-87FE-A43714DED7BC}"/>
    <dgm:cxn modelId="{0D63B2EF-BE50-49EF-B06A-FAD4BA5CB404}" type="presOf" srcId="{E2A3F4B2-30DC-45BD-A344-AAE6C4D390B6}" destId="{3832A95A-970C-439E-A867-58CA754321A7}" srcOrd="0" destOrd="0" presId="urn:microsoft.com/office/officeart/2005/8/layout/arrow2"/>
    <dgm:cxn modelId="{B863178A-F78D-4185-907B-E87B552381F1}" type="presOf" srcId="{C23CF47C-736F-40A3-B110-AC4CCFE19056}" destId="{8D8793CF-6F4F-4D67-BB00-694E577F1B35}" srcOrd="0" destOrd="0" presId="urn:microsoft.com/office/officeart/2005/8/layout/arrow2"/>
    <dgm:cxn modelId="{6F81CA38-A4B7-42F8-8C11-E3E4CAD33646}" srcId="{B3DE6180-1FCB-496B-A7CA-3BBB534A0463}" destId="{E2A3F4B2-30DC-45BD-A344-AAE6C4D390B6}" srcOrd="2" destOrd="0" parTransId="{1370E3A9-B9D0-4DD1-BDAA-7C28C68CFC64}" sibTransId="{71517CD7-A376-4008-87C2-C8654D0F3CCC}"/>
    <dgm:cxn modelId="{2B54F2CC-4080-4FF6-9A1B-C2DFC80AA929}" type="presOf" srcId="{AC77C9F2-F481-4E04-8093-408E4E963C25}" destId="{B119A069-9F44-41EB-8CA8-2F699F621825}" srcOrd="0" destOrd="0" presId="urn:microsoft.com/office/officeart/2005/8/layout/arrow2"/>
    <dgm:cxn modelId="{DDC660F7-62BE-4BF0-AB75-65B3354DBD97}" type="presOf" srcId="{B3DE6180-1FCB-496B-A7CA-3BBB534A0463}" destId="{CBBD3987-1B82-4322-8570-AC48713F8257}" srcOrd="0" destOrd="0" presId="urn:microsoft.com/office/officeart/2005/8/layout/arrow2"/>
    <dgm:cxn modelId="{99B2C8A5-4F23-44F7-941B-C409D5419B1E}" srcId="{B3DE6180-1FCB-496B-A7CA-3BBB534A0463}" destId="{C23CF47C-736F-40A3-B110-AC4CCFE19056}" srcOrd="0" destOrd="0" parTransId="{295BDEA7-B3CA-4256-AEA3-D2D848B13CC5}" sibTransId="{638756D7-9000-4CAA-9F26-A8E34F420860}"/>
    <dgm:cxn modelId="{EA0AFC86-903A-45CC-A623-E197BD886254}" srcId="{B3DE6180-1FCB-496B-A7CA-3BBB534A0463}" destId="{AC77C9F2-F481-4E04-8093-408E4E963C25}" srcOrd="1" destOrd="0" parTransId="{B3F177FE-B87B-4E2E-BCDB-6B8882880730}" sibTransId="{2C058ACF-9D3A-4F44-BC91-8B279BFAC44F}"/>
    <dgm:cxn modelId="{7F59D0A5-54CF-44FF-83CD-B3C67FA9E6D9}" type="presOf" srcId="{5324763C-1A81-4348-9A0D-84F646587AFC}" destId="{87FAC6EE-B9B3-4AF5-B801-57A275616093}" srcOrd="0" destOrd="0" presId="urn:microsoft.com/office/officeart/2005/8/layout/arrow2"/>
    <dgm:cxn modelId="{92EC9E34-3436-4DFF-B81B-E88FCE93F47C}" type="presParOf" srcId="{CBBD3987-1B82-4322-8570-AC48713F8257}" destId="{C98E65B7-86AB-4863-9C98-CD722BD2E065}" srcOrd="0" destOrd="0" presId="urn:microsoft.com/office/officeart/2005/8/layout/arrow2"/>
    <dgm:cxn modelId="{FC0A7278-0EAB-4384-B5AA-B429373DCF07}" type="presParOf" srcId="{CBBD3987-1B82-4322-8570-AC48713F8257}" destId="{AFBA0404-7FAC-44E2-A3E7-D23D6936A975}" srcOrd="1" destOrd="0" presId="urn:microsoft.com/office/officeart/2005/8/layout/arrow2"/>
    <dgm:cxn modelId="{4614359B-1DF2-4748-9644-BEEB0435ED26}" type="presParOf" srcId="{AFBA0404-7FAC-44E2-A3E7-D23D6936A975}" destId="{6BE66FB2-115A-4932-A182-98A70E19DE51}" srcOrd="0" destOrd="0" presId="urn:microsoft.com/office/officeart/2005/8/layout/arrow2"/>
    <dgm:cxn modelId="{8CB8121D-9360-45A6-8B09-79104B2649C1}" type="presParOf" srcId="{AFBA0404-7FAC-44E2-A3E7-D23D6936A975}" destId="{8D8793CF-6F4F-4D67-BB00-694E577F1B35}" srcOrd="1" destOrd="0" presId="urn:microsoft.com/office/officeart/2005/8/layout/arrow2"/>
    <dgm:cxn modelId="{FFA0C62F-BDB3-46C8-88C7-4E09621784CD}" type="presParOf" srcId="{AFBA0404-7FAC-44E2-A3E7-D23D6936A975}" destId="{6671453C-74C2-4E4F-8E01-6A972F0B7C13}" srcOrd="2" destOrd="0" presId="urn:microsoft.com/office/officeart/2005/8/layout/arrow2"/>
    <dgm:cxn modelId="{D744C20C-0885-484E-AABE-EEDE86436823}" type="presParOf" srcId="{AFBA0404-7FAC-44E2-A3E7-D23D6936A975}" destId="{B119A069-9F44-41EB-8CA8-2F699F621825}" srcOrd="3" destOrd="0" presId="urn:microsoft.com/office/officeart/2005/8/layout/arrow2"/>
    <dgm:cxn modelId="{932F964F-D80A-4F53-8B27-F5ED2FF45052}" type="presParOf" srcId="{AFBA0404-7FAC-44E2-A3E7-D23D6936A975}" destId="{795CD83A-80FF-4A8E-9210-30DC56AE437E}" srcOrd="4" destOrd="0" presId="urn:microsoft.com/office/officeart/2005/8/layout/arrow2"/>
    <dgm:cxn modelId="{CAB73820-6F62-44A8-824A-09DA534E4E47}" type="presParOf" srcId="{AFBA0404-7FAC-44E2-A3E7-D23D6936A975}" destId="{3832A95A-970C-439E-A867-58CA754321A7}" srcOrd="5" destOrd="0" presId="urn:microsoft.com/office/officeart/2005/8/layout/arrow2"/>
    <dgm:cxn modelId="{4F0328CC-6008-4E5F-B325-BEC97E820BB6}" type="presParOf" srcId="{AFBA0404-7FAC-44E2-A3E7-D23D6936A975}" destId="{5182B6D7-7D55-4F28-8587-A333264E2447}" srcOrd="6" destOrd="0" presId="urn:microsoft.com/office/officeart/2005/8/layout/arrow2"/>
    <dgm:cxn modelId="{080DEFA3-4658-407B-9463-23288915B944}" type="presParOf" srcId="{AFBA0404-7FAC-44E2-A3E7-D23D6936A975}" destId="{87FAC6EE-B9B3-4AF5-B801-57A275616093}" srcOrd="7"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2680D0-F584-42AC-8C86-8A5836F8811D}"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de-DE"/>
        </a:p>
      </dgm:t>
    </dgm:pt>
    <dgm:pt modelId="{C0B863A7-057C-4ACB-ABBA-14A533662337}">
      <dgm:prSet phldrT="[Text]" custT="1"/>
      <dgm:spPr/>
      <dgm:t>
        <a:bodyPr/>
        <a:lstStyle/>
        <a:p>
          <a:r>
            <a:rPr lang="de-DE" sz="1800" b="1" dirty="0" smtClean="0"/>
            <a:t>Baustein 1: </a:t>
          </a:r>
          <a:r>
            <a:rPr lang="de-DE" sz="1800" b="0" dirty="0" smtClean="0"/>
            <a:t/>
          </a:r>
          <a:br>
            <a:rPr lang="de-DE" sz="1800" b="0" dirty="0" smtClean="0"/>
          </a:br>
          <a:r>
            <a:rPr lang="de-DE" sz="1800" b="0" dirty="0" smtClean="0"/>
            <a:t>Ein Verständnis von päd. Diagnostik entwickeln</a:t>
          </a:r>
          <a:endParaRPr lang="de-DE" sz="1800" b="0" dirty="0"/>
        </a:p>
      </dgm:t>
    </dgm:pt>
    <dgm:pt modelId="{985CE2BB-84C1-4170-B117-3C4966DA6E88}" type="parTrans" cxnId="{4FF11302-ED8B-43DD-B61C-14C5D43A0E5F}">
      <dgm:prSet/>
      <dgm:spPr/>
      <dgm:t>
        <a:bodyPr/>
        <a:lstStyle/>
        <a:p>
          <a:endParaRPr lang="de-DE"/>
        </a:p>
      </dgm:t>
    </dgm:pt>
    <dgm:pt modelId="{D413A2F1-D13B-44DA-9AF7-1F99ED468E4F}" type="sibTrans" cxnId="{4FF11302-ED8B-43DD-B61C-14C5D43A0E5F}">
      <dgm:prSet/>
      <dgm:spPr/>
      <dgm:t>
        <a:bodyPr/>
        <a:lstStyle/>
        <a:p>
          <a:endParaRPr lang="de-DE"/>
        </a:p>
      </dgm:t>
    </dgm:pt>
    <dgm:pt modelId="{37B11A7C-7862-45F1-92F7-73AECBD05CFD}">
      <dgm:prSet phldrT="[Text]" custT="1"/>
      <dgm:spPr/>
      <dgm:t>
        <a:bodyPr/>
        <a:lstStyle/>
        <a:p>
          <a:r>
            <a:rPr lang="de-DE" sz="1800" b="1" dirty="0" smtClean="0"/>
            <a:t>Baustein 2: </a:t>
          </a:r>
          <a:r>
            <a:rPr lang="de-DE" sz="1800" b="0" dirty="0" smtClean="0"/>
            <a:t/>
          </a:r>
          <a:br>
            <a:rPr lang="de-DE" sz="1800" b="0" dirty="0" smtClean="0"/>
          </a:br>
          <a:r>
            <a:rPr lang="de-DE" sz="1800" b="0" dirty="0" smtClean="0"/>
            <a:t>Diagnosebereiche erkennen, diagnostische Fragen stellen, </a:t>
          </a:r>
          <a:r>
            <a:rPr lang="de-DE" sz="1800" b="0" smtClean="0"/>
            <a:t>Hypothesen bilden</a:t>
          </a:r>
          <a:endParaRPr lang="de-DE" sz="1800" b="0" dirty="0"/>
        </a:p>
      </dgm:t>
    </dgm:pt>
    <dgm:pt modelId="{FF4AA71B-431E-4AFD-A0BA-E98E6858D4CC}" type="parTrans" cxnId="{8F909761-2AC3-4DF7-B9E9-13A8C47C4C7A}">
      <dgm:prSet/>
      <dgm:spPr/>
      <dgm:t>
        <a:bodyPr/>
        <a:lstStyle/>
        <a:p>
          <a:endParaRPr lang="de-DE"/>
        </a:p>
      </dgm:t>
    </dgm:pt>
    <dgm:pt modelId="{02827445-A422-4C02-8F6A-2E83C48B2AF8}" type="sibTrans" cxnId="{8F909761-2AC3-4DF7-B9E9-13A8C47C4C7A}">
      <dgm:prSet/>
      <dgm:spPr/>
      <dgm:t>
        <a:bodyPr/>
        <a:lstStyle/>
        <a:p>
          <a:endParaRPr lang="de-DE"/>
        </a:p>
      </dgm:t>
    </dgm:pt>
    <dgm:pt modelId="{19B6ED77-7969-49F0-9838-077A0421D7D5}">
      <dgm:prSet phldrT="[Text]" custT="1"/>
      <dgm:spPr/>
      <dgm:t>
        <a:bodyPr/>
        <a:lstStyle/>
        <a:p>
          <a:r>
            <a:rPr lang="de-DE" sz="1800" b="1" dirty="0" smtClean="0"/>
            <a:t>Baustein 4: </a:t>
          </a:r>
          <a:r>
            <a:rPr lang="de-DE" sz="1800" b="0" dirty="0" smtClean="0"/>
            <a:t/>
          </a:r>
          <a:br>
            <a:rPr lang="de-DE" sz="1800" b="0" dirty="0" smtClean="0"/>
          </a:br>
          <a:r>
            <a:rPr lang="de-DE" sz="1800" b="0" dirty="0" smtClean="0">
              <a:latin typeface="+mn-lt"/>
            </a:rPr>
            <a:t>Daten auswerten und interpretieren, Entwicklungsbedarfe und Ziele klären, multiprofessionell beraten</a:t>
          </a:r>
          <a:endParaRPr lang="de-DE" sz="1800" b="0" dirty="0">
            <a:latin typeface="+mn-lt"/>
          </a:endParaRPr>
        </a:p>
      </dgm:t>
    </dgm:pt>
    <dgm:pt modelId="{A7FF1AC3-0B50-4BD1-97C5-650A546FA829}" type="parTrans" cxnId="{35E79074-6CF6-42AA-BDEC-3B598B2BF9D8}">
      <dgm:prSet/>
      <dgm:spPr/>
      <dgm:t>
        <a:bodyPr/>
        <a:lstStyle/>
        <a:p>
          <a:endParaRPr lang="de-DE"/>
        </a:p>
      </dgm:t>
    </dgm:pt>
    <dgm:pt modelId="{FBE4CE13-BC88-4C88-BA8D-0582D31A5000}" type="sibTrans" cxnId="{35E79074-6CF6-42AA-BDEC-3B598B2BF9D8}">
      <dgm:prSet/>
      <dgm:spPr/>
      <dgm:t>
        <a:bodyPr/>
        <a:lstStyle/>
        <a:p>
          <a:endParaRPr lang="de-DE"/>
        </a:p>
      </dgm:t>
    </dgm:pt>
    <dgm:pt modelId="{9573BF4E-EB6A-45EF-9EEF-EBC7C29043DD}">
      <dgm:prSet custT="1"/>
      <dgm:spPr/>
      <dgm:t>
        <a:bodyPr/>
        <a:lstStyle/>
        <a:p>
          <a:r>
            <a:rPr lang="de-DE" sz="1800" b="1" dirty="0" smtClean="0"/>
            <a:t>Baustein 5: </a:t>
          </a:r>
          <a:r>
            <a:rPr lang="de-DE" sz="1800" b="0" dirty="0" smtClean="0"/>
            <a:t/>
          </a:r>
          <a:br>
            <a:rPr lang="de-DE" sz="1800" b="0" dirty="0" smtClean="0"/>
          </a:br>
          <a:r>
            <a:rPr lang="de-DE" sz="1800" b="0" dirty="0" smtClean="0"/>
            <a:t>Maßnahmen planen, umsetzen und evaluieren</a:t>
          </a:r>
        </a:p>
        <a:p>
          <a:r>
            <a:rPr lang="de-DE" sz="1800" b="0" dirty="0" smtClean="0"/>
            <a:t>Multiprofessionelle Netzwerke</a:t>
          </a:r>
        </a:p>
        <a:p>
          <a:r>
            <a:rPr lang="de-DE" sz="1800" b="0" dirty="0" smtClean="0"/>
            <a:t>Spezielle Diagnoseanlässe</a:t>
          </a:r>
        </a:p>
      </dgm:t>
    </dgm:pt>
    <dgm:pt modelId="{F33CF947-AE5F-43E0-835F-A7F9C528E8B3}" type="parTrans" cxnId="{98135907-AACC-4497-B9B5-07DD3A6890C3}">
      <dgm:prSet/>
      <dgm:spPr/>
      <dgm:t>
        <a:bodyPr/>
        <a:lstStyle/>
        <a:p>
          <a:endParaRPr lang="de-DE"/>
        </a:p>
      </dgm:t>
    </dgm:pt>
    <dgm:pt modelId="{F03CA7C6-1469-4C44-B54D-98A585549958}" type="sibTrans" cxnId="{98135907-AACC-4497-B9B5-07DD3A6890C3}">
      <dgm:prSet/>
      <dgm:spPr/>
      <dgm:t>
        <a:bodyPr/>
        <a:lstStyle/>
        <a:p>
          <a:endParaRPr lang="de-DE"/>
        </a:p>
      </dgm:t>
    </dgm:pt>
    <dgm:pt modelId="{E30FAC69-42B1-4414-A4A4-92F3F036FD8E}" type="pres">
      <dgm:prSet presAssocID="{9E2680D0-F584-42AC-8C86-8A5836F8811D}" presName="arrowDiagram" presStyleCnt="0">
        <dgm:presLayoutVars>
          <dgm:chMax val="5"/>
          <dgm:dir/>
          <dgm:resizeHandles val="exact"/>
        </dgm:presLayoutVars>
      </dgm:prSet>
      <dgm:spPr/>
      <dgm:t>
        <a:bodyPr/>
        <a:lstStyle/>
        <a:p>
          <a:endParaRPr lang="de-DE"/>
        </a:p>
      </dgm:t>
    </dgm:pt>
    <dgm:pt modelId="{9EC62810-2F5F-4B48-881E-5A4D1BE68F74}" type="pres">
      <dgm:prSet presAssocID="{9E2680D0-F584-42AC-8C86-8A5836F8811D}" presName="arrow" presStyleLbl="bgShp" presStyleIdx="0" presStyleCnt="1" custScaleX="116228"/>
      <dgm:spPr>
        <a:solidFill>
          <a:schemeClr val="accent6">
            <a:lumMod val="40000"/>
            <a:lumOff val="60000"/>
          </a:schemeClr>
        </a:solidFill>
      </dgm:spPr>
    </dgm:pt>
    <dgm:pt modelId="{59AD2911-8C83-4784-A9E8-86E1B636D966}" type="pres">
      <dgm:prSet presAssocID="{9E2680D0-F584-42AC-8C86-8A5836F8811D}" presName="arrowDiagram4" presStyleCnt="0"/>
      <dgm:spPr/>
    </dgm:pt>
    <dgm:pt modelId="{A6DB74D0-EEAD-429A-A24E-722A26DEBB1D}" type="pres">
      <dgm:prSet presAssocID="{C0B863A7-057C-4ACB-ABBA-14A533662337}" presName="bullet4a" presStyleLbl="node1" presStyleIdx="0" presStyleCnt="4" custLinFactX="-151983" custLinFactNeighborX="-200000" custLinFactNeighborY="72331"/>
      <dgm:spPr>
        <a:solidFill>
          <a:schemeClr val="accent4"/>
        </a:solidFill>
      </dgm:spPr>
    </dgm:pt>
    <dgm:pt modelId="{14171B51-2B9D-4FA3-9F9E-6D25D709128F}" type="pres">
      <dgm:prSet presAssocID="{C0B863A7-057C-4ACB-ABBA-14A533662337}" presName="textBox4a" presStyleLbl="revTx" presStyleIdx="0" presStyleCnt="4" custScaleX="263218" custScaleY="57271" custLinFactNeighborX="8304" custLinFactNeighborY="4922">
        <dgm:presLayoutVars>
          <dgm:bulletEnabled val="1"/>
        </dgm:presLayoutVars>
      </dgm:prSet>
      <dgm:spPr/>
      <dgm:t>
        <a:bodyPr/>
        <a:lstStyle/>
        <a:p>
          <a:endParaRPr lang="de-DE"/>
        </a:p>
      </dgm:t>
    </dgm:pt>
    <dgm:pt modelId="{A6CF439D-23D0-4C39-A2AC-CF4A3C61FCC6}" type="pres">
      <dgm:prSet presAssocID="{37B11A7C-7862-45F1-92F7-73AECBD05CFD}" presName="bullet4b" presStyleLbl="node1" presStyleIdx="1" presStyleCnt="4" custLinFactX="-100000" custLinFactY="15817" custLinFactNeighborX="-179693" custLinFactNeighborY="100000"/>
      <dgm:spPr>
        <a:solidFill>
          <a:schemeClr val="accent4"/>
        </a:solidFill>
      </dgm:spPr>
    </dgm:pt>
    <dgm:pt modelId="{716B174A-5E31-47D8-B156-D33F5563A750}" type="pres">
      <dgm:prSet presAssocID="{37B11A7C-7862-45F1-92F7-73AECBD05CFD}" presName="textBox4b" presStyleLbl="revTx" presStyleIdx="1" presStyleCnt="4" custScaleX="172853" custScaleY="25824" custLinFactX="-53206" custLinFactNeighborX="-100000" custLinFactNeighborY="-63187">
        <dgm:presLayoutVars>
          <dgm:bulletEnabled val="1"/>
        </dgm:presLayoutVars>
      </dgm:prSet>
      <dgm:spPr/>
      <dgm:t>
        <a:bodyPr/>
        <a:lstStyle/>
        <a:p>
          <a:endParaRPr lang="de-DE"/>
        </a:p>
      </dgm:t>
    </dgm:pt>
    <dgm:pt modelId="{A6BA63D7-68F7-4E77-A27B-B154B5D59F99}" type="pres">
      <dgm:prSet presAssocID="{19B6ED77-7969-49F0-9838-077A0421D7D5}" presName="bullet4c" presStyleLbl="node1" presStyleIdx="2" presStyleCnt="4" custLinFactX="-112959" custLinFactY="20184" custLinFactNeighborX="-200000" custLinFactNeighborY="100000"/>
      <dgm:spPr>
        <a:solidFill>
          <a:schemeClr val="accent4"/>
        </a:solidFill>
      </dgm:spPr>
    </dgm:pt>
    <dgm:pt modelId="{A2AC72A3-61D9-452A-9DC5-43ECBCB79071}" type="pres">
      <dgm:prSet presAssocID="{19B6ED77-7969-49F0-9838-077A0421D7D5}" presName="textBox4c" presStyleLbl="revTx" presStyleIdx="2" presStyleCnt="4" custScaleX="223000" custScaleY="48518" custLinFactNeighborX="-52140" custLinFactNeighborY="-84811">
        <dgm:presLayoutVars>
          <dgm:bulletEnabled val="1"/>
        </dgm:presLayoutVars>
      </dgm:prSet>
      <dgm:spPr/>
      <dgm:t>
        <a:bodyPr/>
        <a:lstStyle/>
        <a:p>
          <a:endParaRPr lang="de-DE"/>
        </a:p>
      </dgm:t>
    </dgm:pt>
    <dgm:pt modelId="{DFEA6A21-4013-42A3-B5B0-A47A970FDD16}" type="pres">
      <dgm:prSet presAssocID="{9573BF4E-EB6A-45EF-9EEF-EBC7C29043DD}" presName="bullet4d" presStyleLbl="node1" presStyleIdx="3" presStyleCnt="4" custLinFactX="-100000" custLinFactNeighborX="-173944" custLinFactNeighborY="63420"/>
      <dgm:spPr>
        <a:solidFill>
          <a:schemeClr val="accent4"/>
        </a:solidFill>
      </dgm:spPr>
      <dgm:t>
        <a:bodyPr/>
        <a:lstStyle/>
        <a:p>
          <a:endParaRPr lang="de-DE"/>
        </a:p>
      </dgm:t>
    </dgm:pt>
    <dgm:pt modelId="{8345E23E-D3CE-4FA7-B46F-CC43E41C422B}" type="pres">
      <dgm:prSet presAssocID="{9573BF4E-EB6A-45EF-9EEF-EBC7C29043DD}" presName="textBox4d" presStyleLbl="revTx" presStyleIdx="3" presStyleCnt="4" custFlipVert="0" custScaleX="218753" custScaleY="22923" custLinFactNeighborX="20475" custLinFactNeighborY="-30731">
        <dgm:presLayoutVars>
          <dgm:bulletEnabled val="1"/>
        </dgm:presLayoutVars>
      </dgm:prSet>
      <dgm:spPr/>
      <dgm:t>
        <a:bodyPr/>
        <a:lstStyle/>
        <a:p>
          <a:endParaRPr lang="de-DE"/>
        </a:p>
      </dgm:t>
    </dgm:pt>
  </dgm:ptLst>
  <dgm:cxnLst>
    <dgm:cxn modelId="{B1F5449E-5CEE-459A-B24C-F72FA9D0B6C7}" type="presOf" srcId="{C0B863A7-057C-4ACB-ABBA-14A533662337}" destId="{14171B51-2B9D-4FA3-9F9E-6D25D709128F}" srcOrd="0" destOrd="0" presId="urn:microsoft.com/office/officeart/2005/8/layout/arrow2"/>
    <dgm:cxn modelId="{AFB80171-D4BE-484A-8CB7-34D3B960FDAD}" type="presOf" srcId="{9573BF4E-EB6A-45EF-9EEF-EBC7C29043DD}" destId="{8345E23E-D3CE-4FA7-B46F-CC43E41C422B}" srcOrd="0" destOrd="0" presId="urn:microsoft.com/office/officeart/2005/8/layout/arrow2"/>
    <dgm:cxn modelId="{F964E2CD-8D6C-4FF1-AA87-5183C86E0E3F}" type="presOf" srcId="{9E2680D0-F584-42AC-8C86-8A5836F8811D}" destId="{E30FAC69-42B1-4414-A4A4-92F3F036FD8E}" srcOrd="0" destOrd="0" presId="urn:microsoft.com/office/officeart/2005/8/layout/arrow2"/>
    <dgm:cxn modelId="{4FF11302-ED8B-43DD-B61C-14C5D43A0E5F}" srcId="{9E2680D0-F584-42AC-8C86-8A5836F8811D}" destId="{C0B863A7-057C-4ACB-ABBA-14A533662337}" srcOrd="0" destOrd="0" parTransId="{985CE2BB-84C1-4170-B117-3C4966DA6E88}" sibTransId="{D413A2F1-D13B-44DA-9AF7-1F99ED468E4F}"/>
    <dgm:cxn modelId="{8F909761-2AC3-4DF7-B9E9-13A8C47C4C7A}" srcId="{9E2680D0-F584-42AC-8C86-8A5836F8811D}" destId="{37B11A7C-7862-45F1-92F7-73AECBD05CFD}" srcOrd="1" destOrd="0" parTransId="{FF4AA71B-431E-4AFD-A0BA-E98E6858D4CC}" sibTransId="{02827445-A422-4C02-8F6A-2E83C48B2AF8}"/>
    <dgm:cxn modelId="{98135907-AACC-4497-B9B5-07DD3A6890C3}" srcId="{9E2680D0-F584-42AC-8C86-8A5836F8811D}" destId="{9573BF4E-EB6A-45EF-9EEF-EBC7C29043DD}" srcOrd="3" destOrd="0" parTransId="{F33CF947-AE5F-43E0-835F-A7F9C528E8B3}" sibTransId="{F03CA7C6-1469-4C44-B54D-98A585549958}"/>
    <dgm:cxn modelId="{35E79074-6CF6-42AA-BDEC-3B598B2BF9D8}" srcId="{9E2680D0-F584-42AC-8C86-8A5836F8811D}" destId="{19B6ED77-7969-49F0-9838-077A0421D7D5}" srcOrd="2" destOrd="0" parTransId="{A7FF1AC3-0B50-4BD1-97C5-650A546FA829}" sibTransId="{FBE4CE13-BC88-4C88-BA8D-0582D31A5000}"/>
    <dgm:cxn modelId="{342D4596-FC67-41DF-A3ED-8DAD029CA9F1}" type="presOf" srcId="{19B6ED77-7969-49F0-9838-077A0421D7D5}" destId="{A2AC72A3-61D9-452A-9DC5-43ECBCB79071}" srcOrd="0" destOrd="0" presId="urn:microsoft.com/office/officeart/2005/8/layout/arrow2"/>
    <dgm:cxn modelId="{3640414F-5C30-4568-8E05-3CAFF91D7CA6}" type="presOf" srcId="{37B11A7C-7862-45F1-92F7-73AECBD05CFD}" destId="{716B174A-5E31-47D8-B156-D33F5563A750}" srcOrd="0" destOrd="0" presId="urn:microsoft.com/office/officeart/2005/8/layout/arrow2"/>
    <dgm:cxn modelId="{6AE786A1-CF04-44E9-83A5-67C2285B01A5}" type="presParOf" srcId="{E30FAC69-42B1-4414-A4A4-92F3F036FD8E}" destId="{9EC62810-2F5F-4B48-881E-5A4D1BE68F74}" srcOrd="0" destOrd="0" presId="urn:microsoft.com/office/officeart/2005/8/layout/arrow2"/>
    <dgm:cxn modelId="{982C471F-0A5C-462C-B3CB-5DA025B0601A}" type="presParOf" srcId="{E30FAC69-42B1-4414-A4A4-92F3F036FD8E}" destId="{59AD2911-8C83-4784-A9E8-86E1B636D966}" srcOrd="1" destOrd="0" presId="urn:microsoft.com/office/officeart/2005/8/layout/arrow2"/>
    <dgm:cxn modelId="{BF064F9D-5CA7-4C34-B075-8D9431E2692F}" type="presParOf" srcId="{59AD2911-8C83-4784-A9E8-86E1B636D966}" destId="{A6DB74D0-EEAD-429A-A24E-722A26DEBB1D}" srcOrd="0" destOrd="0" presId="urn:microsoft.com/office/officeart/2005/8/layout/arrow2"/>
    <dgm:cxn modelId="{75A9A2EA-5B10-4DD5-9F35-1D1ADBBE44EC}" type="presParOf" srcId="{59AD2911-8C83-4784-A9E8-86E1B636D966}" destId="{14171B51-2B9D-4FA3-9F9E-6D25D709128F}" srcOrd="1" destOrd="0" presId="urn:microsoft.com/office/officeart/2005/8/layout/arrow2"/>
    <dgm:cxn modelId="{CE169132-4584-4618-AEFE-FCDDBDA1510A}" type="presParOf" srcId="{59AD2911-8C83-4784-A9E8-86E1B636D966}" destId="{A6CF439D-23D0-4C39-A2AC-CF4A3C61FCC6}" srcOrd="2" destOrd="0" presId="urn:microsoft.com/office/officeart/2005/8/layout/arrow2"/>
    <dgm:cxn modelId="{B6B32529-879A-4BA9-A914-8D63BBF024CD}" type="presParOf" srcId="{59AD2911-8C83-4784-A9E8-86E1B636D966}" destId="{716B174A-5E31-47D8-B156-D33F5563A750}" srcOrd="3" destOrd="0" presId="urn:microsoft.com/office/officeart/2005/8/layout/arrow2"/>
    <dgm:cxn modelId="{098224B8-5CF9-4000-9BD1-1D19D05BEB79}" type="presParOf" srcId="{59AD2911-8C83-4784-A9E8-86E1B636D966}" destId="{A6BA63D7-68F7-4E77-A27B-B154B5D59F99}" srcOrd="4" destOrd="0" presId="urn:microsoft.com/office/officeart/2005/8/layout/arrow2"/>
    <dgm:cxn modelId="{51B3E02F-9D02-4F7D-9F55-04CB691652D4}" type="presParOf" srcId="{59AD2911-8C83-4784-A9E8-86E1B636D966}" destId="{A2AC72A3-61D9-452A-9DC5-43ECBCB79071}" srcOrd="5" destOrd="0" presId="urn:microsoft.com/office/officeart/2005/8/layout/arrow2"/>
    <dgm:cxn modelId="{8DA97951-B666-480A-AE4C-6708D618CE2F}" type="presParOf" srcId="{59AD2911-8C83-4784-A9E8-86E1B636D966}" destId="{DFEA6A21-4013-42A3-B5B0-A47A970FDD16}" srcOrd="6" destOrd="0" presId="urn:microsoft.com/office/officeart/2005/8/layout/arrow2"/>
    <dgm:cxn modelId="{54DBB8A1-B227-4893-84D5-CBE212E8A8F6}" type="presParOf" srcId="{59AD2911-8C83-4784-A9E8-86E1B636D966}" destId="{8345E23E-D3CE-4FA7-B46F-CC43E41C422B}"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2680D0-F584-42AC-8C86-8A5836F8811D}"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de-DE"/>
        </a:p>
      </dgm:t>
    </dgm:pt>
    <dgm:pt modelId="{C0B863A7-057C-4ACB-ABBA-14A533662337}">
      <dgm:prSet phldrT="[Text]" custT="1"/>
      <dgm:spPr/>
      <dgm:t>
        <a:bodyPr/>
        <a:lstStyle/>
        <a:p>
          <a:pPr>
            <a:spcAft>
              <a:spcPts val="0"/>
            </a:spcAft>
          </a:pPr>
          <a:r>
            <a:rPr lang="de-DE" sz="1800" b="1" dirty="0" smtClean="0"/>
            <a:t>Baustein 1: Grundlagen</a:t>
          </a:r>
          <a:br>
            <a:rPr lang="de-DE" sz="1800" b="1" dirty="0" smtClean="0"/>
          </a:br>
          <a:r>
            <a:rPr lang="de-DE" sz="1800" b="0" dirty="0" smtClean="0"/>
            <a:t>Grundformen des          Unterrichts;</a:t>
          </a:r>
          <a:br>
            <a:rPr lang="de-DE" sz="1800" b="0" dirty="0" smtClean="0"/>
          </a:br>
          <a:r>
            <a:rPr lang="de-DE" sz="1800" b="0" dirty="0" smtClean="0"/>
            <a:t>veränderte </a:t>
          </a:r>
        </a:p>
        <a:p>
          <a:pPr>
            <a:spcAft>
              <a:spcPts val="0"/>
            </a:spcAft>
          </a:pPr>
          <a:r>
            <a:rPr lang="de-DE" sz="1800" b="0" dirty="0" smtClean="0"/>
            <a:t>Lehrer/innen-</a:t>
          </a:r>
        </a:p>
        <a:p>
          <a:pPr>
            <a:spcAft>
              <a:spcPts val="0"/>
            </a:spcAft>
          </a:pPr>
          <a:r>
            <a:rPr lang="de-DE" sz="1800" b="0" dirty="0" smtClean="0"/>
            <a:t>Rolle</a:t>
          </a:r>
          <a:endParaRPr lang="de-DE" sz="1800" b="1" dirty="0"/>
        </a:p>
      </dgm:t>
    </dgm:pt>
    <dgm:pt modelId="{985CE2BB-84C1-4170-B117-3C4966DA6E88}" type="parTrans" cxnId="{4FF11302-ED8B-43DD-B61C-14C5D43A0E5F}">
      <dgm:prSet/>
      <dgm:spPr/>
      <dgm:t>
        <a:bodyPr/>
        <a:lstStyle/>
        <a:p>
          <a:endParaRPr lang="de-DE"/>
        </a:p>
      </dgm:t>
    </dgm:pt>
    <dgm:pt modelId="{D413A2F1-D13B-44DA-9AF7-1F99ED468E4F}" type="sibTrans" cxnId="{4FF11302-ED8B-43DD-B61C-14C5D43A0E5F}">
      <dgm:prSet/>
      <dgm:spPr/>
      <dgm:t>
        <a:bodyPr/>
        <a:lstStyle/>
        <a:p>
          <a:endParaRPr lang="de-DE"/>
        </a:p>
      </dgm:t>
    </dgm:pt>
    <dgm:pt modelId="{37B11A7C-7862-45F1-92F7-73AECBD05CFD}">
      <dgm:prSet phldrT="[Text]" custT="1"/>
      <dgm:spPr/>
      <dgm:t>
        <a:bodyPr/>
        <a:lstStyle/>
        <a:p>
          <a:r>
            <a:rPr lang="de-DE" sz="1800" b="1" dirty="0" smtClean="0"/>
            <a:t>Baustein 2: </a:t>
          </a:r>
          <a:br>
            <a:rPr lang="de-DE" sz="1800" b="1" dirty="0" smtClean="0"/>
          </a:br>
          <a:r>
            <a:rPr lang="de-DE" sz="1800" b="1" dirty="0" smtClean="0"/>
            <a:t>Selbstgesteuertes Lernen</a:t>
          </a:r>
          <a:br>
            <a:rPr lang="de-DE" sz="1800" b="1" dirty="0" smtClean="0"/>
          </a:br>
          <a:r>
            <a:rPr lang="de-DE" sz="1800" b="0" dirty="0" smtClean="0"/>
            <a:t>Lernen planen;</a:t>
          </a:r>
          <a:br>
            <a:rPr lang="de-DE" sz="1800" b="0" dirty="0" smtClean="0"/>
          </a:br>
          <a:r>
            <a:rPr lang="de-DE" sz="1800" b="0" dirty="0" smtClean="0"/>
            <a:t>Lernen realisieren,                           </a:t>
          </a:r>
          <a:r>
            <a:rPr lang="de-DE" sz="1800" dirty="0" smtClean="0">
              <a:solidFill>
                <a:srgbClr val="003264"/>
              </a:solidFill>
            </a:rPr>
            <a:t>Lernen reflektieren;                          Ziele setzen</a:t>
          </a:r>
          <a:r>
            <a:rPr lang="de-DE" sz="1800" b="1" dirty="0" smtClean="0">
              <a:solidFill>
                <a:srgbClr val="003264"/>
              </a:solidFill>
            </a:rPr>
            <a:t> </a:t>
          </a:r>
          <a:endParaRPr lang="de-DE" sz="1800" b="1" dirty="0"/>
        </a:p>
      </dgm:t>
    </dgm:pt>
    <dgm:pt modelId="{FF4AA71B-431E-4AFD-A0BA-E98E6858D4CC}" type="parTrans" cxnId="{8F909761-2AC3-4DF7-B9E9-13A8C47C4C7A}">
      <dgm:prSet/>
      <dgm:spPr/>
      <dgm:t>
        <a:bodyPr/>
        <a:lstStyle/>
        <a:p>
          <a:endParaRPr lang="de-DE"/>
        </a:p>
      </dgm:t>
    </dgm:pt>
    <dgm:pt modelId="{02827445-A422-4C02-8F6A-2E83C48B2AF8}" type="sibTrans" cxnId="{8F909761-2AC3-4DF7-B9E9-13A8C47C4C7A}">
      <dgm:prSet/>
      <dgm:spPr/>
      <dgm:t>
        <a:bodyPr/>
        <a:lstStyle/>
        <a:p>
          <a:endParaRPr lang="de-DE"/>
        </a:p>
      </dgm:t>
    </dgm:pt>
    <dgm:pt modelId="{19B6ED77-7969-49F0-9838-077A0421D7D5}">
      <dgm:prSet phldrT="[Text]" custT="1"/>
      <dgm:spPr/>
      <dgm:t>
        <a:bodyPr/>
        <a:lstStyle/>
        <a:p>
          <a:r>
            <a:rPr lang="de-DE" sz="1800" b="1" dirty="0" smtClean="0"/>
            <a:t>Baustein 3: Lerncoaching</a:t>
          </a:r>
          <a:br>
            <a:rPr lang="de-DE" sz="1800" b="1" dirty="0" smtClean="0"/>
          </a:br>
          <a:r>
            <a:rPr lang="de-DE" sz="1800" b="0" dirty="0" smtClean="0"/>
            <a:t>Mentoring; Lernvereinbarungen;</a:t>
          </a:r>
          <a:br>
            <a:rPr lang="de-DE" sz="1800" b="0" dirty="0" smtClean="0"/>
          </a:br>
          <a:r>
            <a:rPr lang="de-DE" sz="1800" b="0" dirty="0" smtClean="0"/>
            <a:t>Lernplan und Lernlogbuch</a:t>
          </a:r>
          <a:endParaRPr lang="de-DE" sz="1800" b="1" dirty="0"/>
        </a:p>
      </dgm:t>
    </dgm:pt>
    <dgm:pt modelId="{A7FF1AC3-0B50-4BD1-97C5-650A546FA829}" type="parTrans" cxnId="{35E79074-6CF6-42AA-BDEC-3B598B2BF9D8}">
      <dgm:prSet/>
      <dgm:spPr/>
      <dgm:t>
        <a:bodyPr/>
        <a:lstStyle/>
        <a:p>
          <a:endParaRPr lang="de-DE"/>
        </a:p>
      </dgm:t>
    </dgm:pt>
    <dgm:pt modelId="{FBE4CE13-BC88-4C88-BA8D-0582D31A5000}" type="sibTrans" cxnId="{35E79074-6CF6-42AA-BDEC-3B598B2BF9D8}">
      <dgm:prSet/>
      <dgm:spPr/>
      <dgm:t>
        <a:bodyPr/>
        <a:lstStyle/>
        <a:p>
          <a:endParaRPr lang="de-DE"/>
        </a:p>
      </dgm:t>
    </dgm:pt>
    <dgm:pt modelId="{9573BF4E-EB6A-45EF-9EEF-EBC7C29043DD}">
      <dgm:prSet custT="1"/>
      <dgm:spPr/>
      <dgm:t>
        <a:bodyPr/>
        <a:lstStyle/>
        <a:p>
          <a:r>
            <a:rPr lang="de-DE" sz="1800" b="1" dirty="0" smtClean="0"/>
            <a:t>Baustein 4: </a:t>
          </a:r>
          <a:br>
            <a:rPr lang="de-DE" sz="1800" b="1" dirty="0" smtClean="0"/>
          </a:br>
          <a:r>
            <a:rPr lang="de-DE" sz="1800" b="1" dirty="0" smtClean="0"/>
            <a:t>Differenzierende Aufgaben</a:t>
          </a:r>
          <a:br>
            <a:rPr lang="de-DE" sz="1800" b="1" dirty="0" smtClean="0"/>
          </a:br>
          <a:r>
            <a:rPr lang="de-DE" sz="1800" b="0" dirty="0" smtClean="0"/>
            <a:t>z. B.: Blütenaufgaben, selbstdifferenzierende </a:t>
          </a:r>
          <a:br>
            <a:rPr lang="de-DE" sz="1800" b="0" dirty="0" smtClean="0"/>
          </a:br>
          <a:r>
            <a:rPr lang="de-DE" sz="1800" b="0" dirty="0" smtClean="0"/>
            <a:t>Aufgaben </a:t>
          </a:r>
          <a:endParaRPr lang="de-DE" sz="1800" b="1" dirty="0"/>
        </a:p>
      </dgm:t>
    </dgm:pt>
    <dgm:pt modelId="{F33CF947-AE5F-43E0-835F-A7F9C528E8B3}" type="parTrans" cxnId="{98135907-AACC-4497-B9B5-07DD3A6890C3}">
      <dgm:prSet/>
      <dgm:spPr/>
      <dgm:t>
        <a:bodyPr/>
        <a:lstStyle/>
        <a:p>
          <a:endParaRPr lang="de-DE"/>
        </a:p>
      </dgm:t>
    </dgm:pt>
    <dgm:pt modelId="{F03CA7C6-1469-4C44-B54D-98A585549958}" type="sibTrans" cxnId="{98135907-AACC-4497-B9B5-07DD3A6890C3}">
      <dgm:prSet/>
      <dgm:spPr/>
      <dgm:t>
        <a:bodyPr/>
        <a:lstStyle/>
        <a:p>
          <a:endParaRPr lang="de-DE"/>
        </a:p>
      </dgm:t>
    </dgm:pt>
    <dgm:pt modelId="{E30FAC69-42B1-4414-A4A4-92F3F036FD8E}" type="pres">
      <dgm:prSet presAssocID="{9E2680D0-F584-42AC-8C86-8A5836F8811D}" presName="arrowDiagram" presStyleCnt="0">
        <dgm:presLayoutVars>
          <dgm:chMax val="5"/>
          <dgm:dir/>
          <dgm:resizeHandles val="exact"/>
        </dgm:presLayoutVars>
      </dgm:prSet>
      <dgm:spPr/>
      <dgm:t>
        <a:bodyPr/>
        <a:lstStyle/>
        <a:p>
          <a:endParaRPr lang="de-DE"/>
        </a:p>
      </dgm:t>
    </dgm:pt>
    <dgm:pt modelId="{9EC62810-2F5F-4B48-881E-5A4D1BE68F74}" type="pres">
      <dgm:prSet presAssocID="{9E2680D0-F584-42AC-8C86-8A5836F8811D}" presName="arrow" presStyleLbl="bgShp" presStyleIdx="0" presStyleCnt="1" custScaleX="116228"/>
      <dgm:spPr>
        <a:solidFill>
          <a:schemeClr val="accent3">
            <a:lumMod val="20000"/>
            <a:lumOff val="80000"/>
          </a:schemeClr>
        </a:solidFill>
      </dgm:spPr>
    </dgm:pt>
    <dgm:pt modelId="{59AD2911-8C83-4784-A9E8-86E1B636D966}" type="pres">
      <dgm:prSet presAssocID="{9E2680D0-F584-42AC-8C86-8A5836F8811D}" presName="arrowDiagram4" presStyleCnt="0"/>
      <dgm:spPr/>
    </dgm:pt>
    <dgm:pt modelId="{A6DB74D0-EEAD-429A-A24E-722A26DEBB1D}" type="pres">
      <dgm:prSet presAssocID="{C0B863A7-057C-4ACB-ABBA-14A533662337}" presName="bullet4a" presStyleLbl="node1" presStyleIdx="0" presStyleCnt="4" custLinFactX="457158" custLinFactY="-341177" custLinFactNeighborX="500000" custLinFactNeighborY="-400000"/>
      <dgm:spPr>
        <a:solidFill>
          <a:schemeClr val="accent3">
            <a:lumMod val="60000"/>
            <a:lumOff val="40000"/>
          </a:schemeClr>
        </a:solidFill>
      </dgm:spPr>
    </dgm:pt>
    <dgm:pt modelId="{14171B51-2B9D-4FA3-9F9E-6D25D709128F}" type="pres">
      <dgm:prSet presAssocID="{C0B863A7-057C-4ACB-ABBA-14A533662337}" presName="textBox4a" presStyleLbl="revTx" presStyleIdx="0" presStyleCnt="4" custScaleX="263218" custScaleY="57271" custLinFactY="-100000" custLinFactNeighborX="-31038" custLinFactNeighborY="-104265">
        <dgm:presLayoutVars>
          <dgm:bulletEnabled val="1"/>
        </dgm:presLayoutVars>
      </dgm:prSet>
      <dgm:spPr/>
      <dgm:t>
        <a:bodyPr/>
        <a:lstStyle/>
        <a:p>
          <a:endParaRPr lang="de-DE"/>
        </a:p>
      </dgm:t>
    </dgm:pt>
    <dgm:pt modelId="{A6CF439D-23D0-4C39-A2AC-CF4A3C61FCC6}" type="pres">
      <dgm:prSet presAssocID="{37B11A7C-7862-45F1-92F7-73AECBD05CFD}" presName="bullet4b" presStyleLbl="node1" presStyleIdx="1" presStyleCnt="4" custLinFactX="-100000" custLinFactY="15817" custLinFactNeighborX="-179693" custLinFactNeighborY="100000"/>
      <dgm:spPr>
        <a:solidFill>
          <a:schemeClr val="accent3">
            <a:lumMod val="60000"/>
            <a:lumOff val="40000"/>
          </a:schemeClr>
        </a:solidFill>
      </dgm:spPr>
    </dgm:pt>
    <dgm:pt modelId="{716B174A-5E31-47D8-B156-D33F5563A750}" type="pres">
      <dgm:prSet presAssocID="{37B11A7C-7862-45F1-92F7-73AECBD05CFD}" presName="textBox4b" presStyleLbl="revTx" presStyleIdx="1" presStyleCnt="4" custScaleX="223297" custScaleY="25824" custLinFactNeighborX="53614" custLinFactNeighborY="-24838">
        <dgm:presLayoutVars>
          <dgm:bulletEnabled val="1"/>
        </dgm:presLayoutVars>
      </dgm:prSet>
      <dgm:spPr/>
      <dgm:t>
        <a:bodyPr/>
        <a:lstStyle/>
        <a:p>
          <a:endParaRPr lang="de-DE"/>
        </a:p>
      </dgm:t>
    </dgm:pt>
    <dgm:pt modelId="{A6BA63D7-68F7-4E77-A27B-B154B5D59F99}" type="pres">
      <dgm:prSet presAssocID="{19B6ED77-7969-49F0-9838-077A0421D7D5}" presName="bullet4c" presStyleLbl="node1" presStyleIdx="2" presStyleCnt="4" custLinFactX="-112959" custLinFactY="20184" custLinFactNeighborX="-200000" custLinFactNeighborY="100000"/>
      <dgm:spPr>
        <a:solidFill>
          <a:schemeClr val="accent3">
            <a:lumMod val="60000"/>
            <a:lumOff val="40000"/>
          </a:schemeClr>
        </a:solidFill>
      </dgm:spPr>
    </dgm:pt>
    <dgm:pt modelId="{A2AC72A3-61D9-452A-9DC5-43ECBCB79071}" type="pres">
      <dgm:prSet presAssocID="{19B6ED77-7969-49F0-9838-077A0421D7D5}" presName="textBox4c" presStyleLbl="revTx" presStyleIdx="2" presStyleCnt="4" custScaleX="240877" custScaleY="39246" custLinFactNeighborX="-53187" custLinFactNeighborY="-82069">
        <dgm:presLayoutVars>
          <dgm:bulletEnabled val="1"/>
        </dgm:presLayoutVars>
      </dgm:prSet>
      <dgm:spPr/>
      <dgm:t>
        <a:bodyPr/>
        <a:lstStyle/>
        <a:p>
          <a:endParaRPr lang="de-DE"/>
        </a:p>
      </dgm:t>
    </dgm:pt>
    <dgm:pt modelId="{DFEA6A21-4013-42A3-B5B0-A47A970FDD16}" type="pres">
      <dgm:prSet presAssocID="{9573BF4E-EB6A-45EF-9EEF-EBC7C29043DD}" presName="bullet4d" presStyleLbl="node1" presStyleIdx="3" presStyleCnt="4" custLinFactX="-100000" custLinFactNeighborX="-173944" custLinFactNeighborY="73881"/>
      <dgm:spPr>
        <a:solidFill>
          <a:schemeClr val="accent3">
            <a:lumMod val="60000"/>
            <a:lumOff val="40000"/>
          </a:schemeClr>
        </a:solidFill>
      </dgm:spPr>
      <dgm:t>
        <a:bodyPr/>
        <a:lstStyle/>
        <a:p>
          <a:endParaRPr lang="de-DE"/>
        </a:p>
      </dgm:t>
    </dgm:pt>
    <dgm:pt modelId="{8345E23E-D3CE-4FA7-B46F-CC43E41C422B}" type="pres">
      <dgm:prSet presAssocID="{9573BF4E-EB6A-45EF-9EEF-EBC7C29043DD}" presName="textBox4d" presStyleLbl="revTx" presStyleIdx="3" presStyleCnt="4" custFlipVert="0" custScaleX="218753" custScaleY="22923" custLinFactNeighborX="23674" custLinFactNeighborY="-15831">
        <dgm:presLayoutVars>
          <dgm:bulletEnabled val="1"/>
        </dgm:presLayoutVars>
      </dgm:prSet>
      <dgm:spPr/>
      <dgm:t>
        <a:bodyPr/>
        <a:lstStyle/>
        <a:p>
          <a:endParaRPr lang="de-DE"/>
        </a:p>
      </dgm:t>
    </dgm:pt>
  </dgm:ptLst>
  <dgm:cxnLst>
    <dgm:cxn modelId="{33F3ABA9-D2DD-4BFA-84F3-B49FF9503EC2}" type="presOf" srcId="{19B6ED77-7969-49F0-9838-077A0421D7D5}" destId="{A2AC72A3-61D9-452A-9DC5-43ECBCB79071}" srcOrd="0" destOrd="0" presId="urn:microsoft.com/office/officeart/2005/8/layout/arrow2"/>
    <dgm:cxn modelId="{4FF11302-ED8B-43DD-B61C-14C5D43A0E5F}" srcId="{9E2680D0-F584-42AC-8C86-8A5836F8811D}" destId="{C0B863A7-057C-4ACB-ABBA-14A533662337}" srcOrd="0" destOrd="0" parTransId="{985CE2BB-84C1-4170-B117-3C4966DA6E88}" sibTransId="{D413A2F1-D13B-44DA-9AF7-1F99ED468E4F}"/>
    <dgm:cxn modelId="{8F909761-2AC3-4DF7-B9E9-13A8C47C4C7A}" srcId="{9E2680D0-F584-42AC-8C86-8A5836F8811D}" destId="{37B11A7C-7862-45F1-92F7-73AECBD05CFD}" srcOrd="1" destOrd="0" parTransId="{FF4AA71B-431E-4AFD-A0BA-E98E6858D4CC}" sibTransId="{02827445-A422-4C02-8F6A-2E83C48B2AF8}"/>
    <dgm:cxn modelId="{98135907-AACC-4497-B9B5-07DD3A6890C3}" srcId="{9E2680D0-F584-42AC-8C86-8A5836F8811D}" destId="{9573BF4E-EB6A-45EF-9EEF-EBC7C29043DD}" srcOrd="3" destOrd="0" parTransId="{F33CF947-AE5F-43E0-835F-A7F9C528E8B3}" sibTransId="{F03CA7C6-1469-4C44-B54D-98A585549958}"/>
    <dgm:cxn modelId="{32076867-C990-491E-82CD-A89E2AE0020C}" type="presOf" srcId="{9573BF4E-EB6A-45EF-9EEF-EBC7C29043DD}" destId="{8345E23E-D3CE-4FA7-B46F-CC43E41C422B}" srcOrd="0" destOrd="0" presId="urn:microsoft.com/office/officeart/2005/8/layout/arrow2"/>
    <dgm:cxn modelId="{842FB3A3-7C39-4906-AFA9-C4626BC2EB36}" type="presOf" srcId="{C0B863A7-057C-4ACB-ABBA-14A533662337}" destId="{14171B51-2B9D-4FA3-9F9E-6D25D709128F}" srcOrd="0" destOrd="0" presId="urn:microsoft.com/office/officeart/2005/8/layout/arrow2"/>
    <dgm:cxn modelId="{61D68932-CF12-45C2-BFD9-6135321F5E0A}" type="presOf" srcId="{9E2680D0-F584-42AC-8C86-8A5836F8811D}" destId="{E30FAC69-42B1-4414-A4A4-92F3F036FD8E}" srcOrd="0" destOrd="0" presId="urn:microsoft.com/office/officeart/2005/8/layout/arrow2"/>
    <dgm:cxn modelId="{663A4D16-BB0A-4944-B237-769AF9F3C925}" type="presOf" srcId="{37B11A7C-7862-45F1-92F7-73AECBD05CFD}" destId="{716B174A-5E31-47D8-B156-D33F5563A750}" srcOrd="0" destOrd="0" presId="urn:microsoft.com/office/officeart/2005/8/layout/arrow2"/>
    <dgm:cxn modelId="{35E79074-6CF6-42AA-BDEC-3B598B2BF9D8}" srcId="{9E2680D0-F584-42AC-8C86-8A5836F8811D}" destId="{19B6ED77-7969-49F0-9838-077A0421D7D5}" srcOrd="2" destOrd="0" parTransId="{A7FF1AC3-0B50-4BD1-97C5-650A546FA829}" sibTransId="{FBE4CE13-BC88-4C88-BA8D-0582D31A5000}"/>
    <dgm:cxn modelId="{A96A8391-9264-479C-9977-7EAF7BBD9CD9}" type="presParOf" srcId="{E30FAC69-42B1-4414-A4A4-92F3F036FD8E}" destId="{9EC62810-2F5F-4B48-881E-5A4D1BE68F74}" srcOrd="0" destOrd="0" presId="urn:microsoft.com/office/officeart/2005/8/layout/arrow2"/>
    <dgm:cxn modelId="{F0D6B5DF-B120-45F5-8136-19481F1D4071}" type="presParOf" srcId="{E30FAC69-42B1-4414-A4A4-92F3F036FD8E}" destId="{59AD2911-8C83-4784-A9E8-86E1B636D966}" srcOrd="1" destOrd="0" presId="urn:microsoft.com/office/officeart/2005/8/layout/arrow2"/>
    <dgm:cxn modelId="{6F1EA80B-53C7-4CA2-9451-4254EE647039}" type="presParOf" srcId="{59AD2911-8C83-4784-A9E8-86E1B636D966}" destId="{A6DB74D0-EEAD-429A-A24E-722A26DEBB1D}" srcOrd="0" destOrd="0" presId="urn:microsoft.com/office/officeart/2005/8/layout/arrow2"/>
    <dgm:cxn modelId="{CDA1B0C9-CC15-4B8F-900E-AFF9AB1B5064}" type="presParOf" srcId="{59AD2911-8C83-4784-A9E8-86E1B636D966}" destId="{14171B51-2B9D-4FA3-9F9E-6D25D709128F}" srcOrd="1" destOrd="0" presId="urn:microsoft.com/office/officeart/2005/8/layout/arrow2"/>
    <dgm:cxn modelId="{DC3FF155-9073-476E-9FCD-FEB49F5649E5}" type="presParOf" srcId="{59AD2911-8C83-4784-A9E8-86E1B636D966}" destId="{A6CF439D-23D0-4C39-A2AC-CF4A3C61FCC6}" srcOrd="2" destOrd="0" presId="urn:microsoft.com/office/officeart/2005/8/layout/arrow2"/>
    <dgm:cxn modelId="{C5E38F1D-90B5-4B98-B949-A31D3B28FD53}" type="presParOf" srcId="{59AD2911-8C83-4784-A9E8-86E1B636D966}" destId="{716B174A-5E31-47D8-B156-D33F5563A750}" srcOrd="3" destOrd="0" presId="urn:microsoft.com/office/officeart/2005/8/layout/arrow2"/>
    <dgm:cxn modelId="{6F6E856C-5E32-4240-BD4A-44D7AA2FFEBC}" type="presParOf" srcId="{59AD2911-8C83-4784-A9E8-86E1B636D966}" destId="{A6BA63D7-68F7-4E77-A27B-B154B5D59F99}" srcOrd="4" destOrd="0" presId="urn:microsoft.com/office/officeart/2005/8/layout/arrow2"/>
    <dgm:cxn modelId="{6A5573CA-261D-4734-B233-5D2A7659EA00}" type="presParOf" srcId="{59AD2911-8C83-4784-A9E8-86E1B636D966}" destId="{A2AC72A3-61D9-452A-9DC5-43ECBCB79071}" srcOrd="5" destOrd="0" presId="urn:microsoft.com/office/officeart/2005/8/layout/arrow2"/>
    <dgm:cxn modelId="{E81E7172-DF04-4642-AD2F-4E95E9281904}" type="presParOf" srcId="{59AD2911-8C83-4784-A9E8-86E1B636D966}" destId="{DFEA6A21-4013-42A3-B5B0-A47A970FDD16}" srcOrd="6" destOrd="0" presId="urn:microsoft.com/office/officeart/2005/8/layout/arrow2"/>
    <dgm:cxn modelId="{CB17F789-7034-4BD5-9263-DB2B0BD03644}" type="presParOf" srcId="{59AD2911-8C83-4784-A9E8-86E1B636D966}" destId="{8345E23E-D3CE-4FA7-B46F-CC43E41C422B}"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2680D0-F584-42AC-8C86-8A5836F8811D}"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de-DE"/>
        </a:p>
      </dgm:t>
    </dgm:pt>
    <dgm:pt modelId="{C0B863A7-057C-4ACB-ABBA-14A533662337}">
      <dgm:prSet phldrT="[Text]" custT="1"/>
      <dgm:spPr/>
      <dgm:t>
        <a:bodyPr/>
        <a:lstStyle/>
        <a:p>
          <a:r>
            <a:rPr lang="de-DE" sz="1800" b="1" dirty="0" smtClean="0"/>
            <a:t>Baustein 1: </a:t>
          </a:r>
          <a:r>
            <a:rPr lang="de-DE" sz="1800" b="0" dirty="0" smtClean="0"/>
            <a:t>Lerndokumen-tation</a:t>
          </a:r>
          <a:endParaRPr lang="de-DE" sz="1800" b="0" dirty="0"/>
        </a:p>
      </dgm:t>
    </dgm:pt>
    <dgm:pt modelId="{985CE2BB-84C1-4170-B117-3C4966DA6E88}" type="parTrans" cxnId="{4FF11302-ED8B-43DD-B61C-14C5D43A0E5F}">
      <dgm:prSet/>
      <dgm:spPr/>
      <dgm:t>
        <a:bodyPr/>
        <a:lstStyle/>
        <a:p>
          <a:endParaRPr lang="de-DE"/>
        </a:p>
      </dgm:t>
    </dgm:pt>
    <dgm:pt modelId="{D413A2F1-D13B-44DA-9AF7-1F99ED468E4F}" type="sibTrans" cxnId="{4FF11302-ED8B-43DD-B61C-14C5D43A0E5F}">
      <dgm:prSet/>
      <dgm:spPr/>
      <dgm:t>
        <a:bodyPr/>
        <a:lstStyle/>
        <a:p>
          <a:endParaRPr lang="de-DE"/>
        </a:p>
      </dgm:t>
    </dgm:pt>
    <dgm:pt modelId="{37B11A7C-7862-45F1-92F7-73AECBD05CFD}">
      <dgm:prSet phldrT="[Text]" custT="1"/>
      <dgm:spPr/>
      <dgm:t>
        <a:bodyPr/>
        <a:lstStyle/>
        <a:p>
          <a:r>
            <a:rPr lang="de-DE" sz="1800" b="1" dirty="0" smtClean="0"/>
            <a:t>Baustein 3: </a:t>
          </a:r>
          <a:r>
            <a:rPr lang="de-DE" sz="1800" b="0" dirty="0" smtClean="0"/>
            <a:t/>
          </a:r>
          <a:br>
            <a:rPr lang="de-DE" sz="1800" b="0" dirty="0" smtClean="0"/>
          </a:br>
          <a:r>
            <a:rPr lang="de-DE" sz="1800" b="0" dirty="0" smtClean="0"/>
            <a:t>Kooperatives Lernen</a:t>
          </a:r>
          <a:endParaRPr lang="de-DE" sz="1800" b="0" dirty="0"/>
        </a:p>
      </dgm:t>
    </dgm:pt>
    <dgm:pt modelId="{FF4AA71B-431E-4AFD-A0BA-E98E6858D4CC}" type="parTrans" cxnId="{8F909761-2AC3-4DF7-B9E9-13A8C47C4C7A}">
      <dgm:prSet/>
      <dgm:spPr/>
      <dgm:t>
        <a:bodyPr/>
        <a:lstStyle/>
        <a:p>
          <a:endParaRPr lang="de-DE"/>
        </a:p>
      </dgm:t>
    </dgm:pt>
    <dgm:pt modelId="{02827445-A422-4C02-8F6A-2E83C48B2AF8}" type="sibTrans" cxnId="{8F909761-2AC3-4DF7-B9E9-13A8C47C4C7A}">
      <dgm:prSet/>
      <dgm:spPr/>
      <dgm:t>
        <a:bodyPr/>
        <a:lstStyle/>
        <a:p>
          <a:endParaRPr lang="de-DE"/>
        </a:p>
      </dgm:t>
    </dgm:pt>
    <dgm:pt modelId="{1B9F9BA5-403E-4F46-A243-0F7A5E052FCC}">
      <dgm:prSet phldrT="[Text]" custT="1"/>
      <dgm:spPr/>
      <dgm:t>
        <a:bodyPr/>
        <a:lstStyle/>
        <a:p>
          <a:r>
            <a:rPr lang="de-DE" sz="1800" b="1" dirty="0" smtClean="0"/>
            <a:t>Baustein 2: </a:t>
          </a:r>
          <a:r>
            <a:rPr lang="de-DE" sz="1800" b="0" dirty="0" smtClean="0"/>
            <a:t/>
          </a:r>
          <a:br>
            <a:rPr lang="de-DE" sz="1800" b="0" dirty="0" smtClean="0"/>
          </a:br>
          <a:r>
            <a:rPr lang="de-DE" sz="1800" b="0" dirty="0" smtClean="0"/>
            <a:t>Leistungs-beurteilung</a:t>
          </a:r>
          <a:endParaRPr lang="de-DE" sz="1800" b="0" dirty="0"/>
        </a:p>
      </dgm:t>
    </dgm:pt>
    <dgm:pt modelId="{360C671F-9D9E-4BD1-BE13-85632613F517}" type="parTrans" cxnId="{6BD59588-6C2E-4795-B1A6-F16F30628ABA}">
      <dgm:prSet/>
      <dgm:spPr/>
      <dgm:t>
        <a:bodyPr/>
        <a:lstStyle/>
        <a:p>
          <a:endParaRPr lang="de-DE"/>
        </a:p>
      </dgm:t>
    </dgm:pt>
    <dgm:pt modelId="{3BC718A5-02E0-47E4-8E31-4703B3ACE243}" type="sibTrans" cxnId="{6BD59588-6C2E-4795-B1A6-F16F30628ABA}">
      <dgm:prSet/>
      <dgm:spPr/>
      <dgm:t>
        <a:bodyPr/>
        <a:lstStyle/>
        <a:p>
          <a:endParaRPr lang="de-DE"/>
        </a:p>
      </dgm:t>
    </dgm:pt>
    <dgm:pt modelId="{E30FAC69-42B1-4414-A4A4-92F3F036FD8E}" type="pres">
      <dgm:prSet presAssocID="{9E2680D0-F584-42AC-8C86-8A5836F8811D}" presName="arrowDiagram" presStyleCnt="0">
        <dgm:presLayoutVars>
          <dgm:chMax val="5"/>
          <dgm:dir/>
          <dgm:resizeHandles val="exact"/>
        </dgm:presLayoutVars>
      </dgm:prSet>
      <dgm:spPr/>
      <dgm:t>
        <a:bodyPr/>
        <a:lstStyle/>
        <a:p>
          <a:endParaRPr lang="de-DE"/>
        </a:p>
      </dgm:t>
    </dgm:pt>
    <dgm:pt modelId="{9EC62810-2F5F-4B48-881E-5A4D1BE68F74}" type="pres">
      <dgm:prSet presAssocID="{9E2680D0-F584-42AC-8C86-8A5836F8811D}" presName="arrow" presStyleLbl="bgShp" presStyleIdx="0" presStyleCnt="1" custScaleX="116228"/>
      <dgm:spPr>
        <a:solidFill>
          <a:schemeClr val="accent3">
            <a:lumMod val="20000"/>
            <a:lumOff val="80000"/>
          </a:schemeClr>
        </a:solidFill>
      </dgm:spPr>
    </dgm:pt>
    <dgm:pt modelId="{46296E23-FD94-41CA-A3D7-C979269F8957}" type="pres">
      <dgm:prSet presAssocID="{9E2680D0-F584-42AC-8C86-8A5836F8811D}" presName="arrowDiagram3" presStyleCnt="0"/>
      <dgm:spPr/>
    </dgm:pt>
    <dgm:pt modelId="{2252359A-596A-4809-B4B8-69205D3731EB}" type="pres">
      <dgm:prSet presAssocID="{C0B863A7-057C-4ACB-ABBA-14A533662337}" presName="bullet3a" presStyleLbl="node1" presStyleIdx="0" presStyleCnt="3" custLinFactY="-61907" custLinFactNeighborX="35807" custLinFactNeighborY="-100000"/>
      <dgm:spPr/>
    </dgm:pt>
    <dgm:pt modelId="{4A9FCA97-3AB6-43BE-B385-2606E4AC440E}" type="pres">
      <dgm:prSet presAssocID="{C0B863A7-057C-4ACB-ABBA-14A533662337}" presName="textBox3a" presStyleLbl="revTx" presStyleIdx="0" presStyleCnt="3" custScaleY="56752" custLinFactNeighborX="1507" custLinFactNeighborY="-26716">
        <dgm:presLayoutVars>
          <dgm:bulletEnabled val="1"/>
        </dgm:presLayoutVars>
      </dgm:prSet>
      <dgm:spPr/>
      <dgm:t>
        <a:bodyPr/>
        <a:lstStyle/>
        <a:p>
          <a:endParaRPr lang="de-DE"/>
        </a:p>
      </dgm:t>
    </dgm:pt>
    <dgm:pt modelId="{F67226ED-8791-45D5-83C7-E8B173DEF002}" type="pres">
      <dgm:prSet presAssocID="{1B9F9BA5-403E-4F46-A243-0F7A5E052FCC}" presName="bullet3b" presStyleLbl="node1" presStyleIdx="1" presStyleCnt="3"/>
      <dgm:spPr/>
    </dgm:pt>
    <dgm:pt modelId="{01C83753-3D2E-438E-B177-3D447638659E}" type="pres">
      <dgm:prSet presAssocID="{1B9F9BA5-403E-4F46-A243-0F7A5E052FCC}" presName="textBox3b" presStyleLbl="revTx" presStyleIdx="1" presStyleCnt="3" custScaleY="35426" custLinFactNeighborX="11779" custLinFactNeighborY="-20349">
        <dgm:presLayoutVars>
          <dgm:bulletEnabled val="1"/>
        </dgm:presLayoutVars>
      </dgm:prSet>
      <dgm:spPr/>
      <dgm:t>
        <a:bodyPr/>
        <a:lstStyle/>
        <a:p>
          <a:endParaRPr lang="de-DE"/>
        </a:p>
      </dgm:t>
    </dgm:pt>
    <dgm:pt modelId="{FDA09194-EC79-427F-880A-4221E033689E}" type="pres">
      <dgm:prSet presAssocID="{37B11A7C-7862-45F1-92F7-73AECBD05CFD}" presName="bullet3c" presStyleLbl="node1" presStyleIdx="2" presStyleCnt="3"/>
      <dgm:spPr/>
    </dgm:pt>
    <dgm:pt modelId="{D1657BF6-0950-4AFA-8408-C4DB46D0AF9F}" type="pres">
      <dgm:prSet presAssocID="{37B11A7C-7862-45F1-92F7-73AECBD05CFD}" presName="textBox3c" presStyleLbl="revTx" presStyleIdx="2" presStyleCnt="3" custScaleY="26199" custLinFactX="-2728" custLinFactNeighborX="-100000" custLinFactNeighborY="-67184">
        <dgm:presLayoutVars>
          <dgm:bulletEnabled val="1"/>
        </dgm:presLayoutVars>
      </dgm:prSet>
      <dgm:spPr/>
      <dgm:t>
        <a:bodyPr/>
        <a:lstStyle/>
        <a:p>
          <a:endParaRPr lang="de-DE"/>
        </a:p>
      </dgm:t>
    </dgm:pt>
  </dgm:ptLst>
  <dgm:cxnLst>
    <dgm:cxn modelId="{8F909761-2AC3-4DF7-B9E9-13A8C47C4C7A}" srcId="{9E2680D0-F584-42AC-8C86-8A5836F8811D}" destId="{37B11A7C-7862-45F1-92F7-73AECBD05CFD}" srcOrd="2" destOrd="0" parTransId="{FF4AA71B-431E-4AFD-A0BA-E98E6858D4CC}" sibTransId="{02827445-A422-4C02-8F6A-2E83C48B2AF8}"/>
    <dgm:cxn modelId="{BAB8EF71-E2C6-48A7-8475-F30886F4EE4F}" type="presOf" srcId="{1B9F9BA5-403E-4F46-A243-0F7A5E052FCC}" destId="{01C83753-3D2E-438E-B177-3D447638659E}" srcOrd="0" destOrd="0" presId="urn:microsoft.com/office/officeart/2005/8/layout/arrow2"/>
    <dgm:cxn modelId="{6BD59588-6C2E-4795-B1A6-F16F30628ABA}" srcId="{9E2680D0-F584-42AC-8C86-8A5836F8811D}" destId="{1B9F9BA5-403E-4F46-A243-0F7A5E052FCC}" srcOrd="1" destOrd="0" parTransId="{360C671F-9D9E-4BD1-BE13-85632613F517}" sibTransId="{3BC718A5-02E0-47E4-8E31-4703B3ACE243}"/>
    <dgm:cxn modelId="{63BD5C92-02CE-467F-9CDD-B3CD646DB0BC}" type="presOf" srcId="{37B11A7C-7862-45F1-92F7-73AECBD05CFD}" destId="{D1657BF6-0950-4AFA-8408-C4DB46D0AF9F}" srcOrd="0" destOrd="0" presId="urn:microsoft.com/office/officeart/2005/8/layout/arrow2"/>
    <dgm:cxn modelId="{514E0131-731A-4269-838E-5822B21C305B}" type="presOf" srcId="{C0B863A7-057C-4ACB-ABBA-14A533662337}" destId="{4A9FCA97-3AB6-43BE-B385-2606E4AC440E}" srcOrd="0" destOrd="0" presId="urn:microsoft.com/office/officeart/2005/8/layout/arrow2"/>
    <dgm:cxn modelId="{F4587256-058F-4113-9D45-0C304549D6E3}" type="presOf" srcId="{9E2680D0-F584-42AC-8C86-8A5836F8811D}" destId="{E30FAC69-42B1-4414-A4A4-92F3F036FD8E}" srcOrd="0" destOrd="0" presId="urn:microsoft.com/office/officeart/2005/8/layout/arrow2"/>
    <dgm:cxn modelId="{4FF11302-ED8B-43DD-B61C-14C5D43A0E5F}" srcId="{9E2680D0-F584-42AC-8C86-8A5836F8811D}" destId="{C0B863A7-057C-4ACB-ABBA-14A533662337}" srcOrd="0" destOrd="0" parTransId="{985CE2BB-84C1-4170-B117-3C4966DA6E88}" sibTransId="{D413A2F1-D13B-44DA-9AF7-1F99ED468E4F}"/>
    <dgm:cxn modelId="{0D35BC78-6326-45F5-BDB1-8889AB2A0E42}" type="presParOf" srcId="{E30FAC69-42B1-4414-A4A4-92F3F036FD8E}" destId="{9EC62810-2F5F-4B48-881E-5A4D1BE68F74}" srcOrd="0" destOrd="0" presId="urn:microsoft.com/office/officeart/2005/8/layout/arrow2"/>
    <dgm:cxn modelId="{467FEC3B-CF10-439F-9E6B-AC9248B3282C}" type="presParOf" srcId="{E30FAC69-42B1-4414-A4A4-92F3F036FD8E}" destId="{46296E23-FD94-41CA-A3D7-C979269F8957}" srcOrd="1" destOrd="0" presId="urn:microsoft.com/office/officeart/2005/8/layout/arrow2"/>
    <dgm:cxn modelId="{686CB21F-4877-47C8-BE3C-21B048520240}" type="presParOf" srcId="{46296E23-FD94-41CA-A3D7-C979269F8957}" destId="{2252359A-596A-4809-B4B8-69205D3731EB}" srcOrd="0" destOrd="0" presId="urn:microsoft.com/office/officeart/2005/8/layout/arrow2"/>
    <dgm:cxn modelId="{7EA67083-9096-485B-8533-BE84A5D408BF}" type="presParOf" srcId="{46296E23-FD94-41CA-A3D7-C979269F8957}" destId="{4A9FCA97-3AB6-43BE-B385-2606E4AC440E}" srcOrd="1" destOrd="0" presId="urn:microsoft.com/office/officeart/2005/8/layout/arrow2"/>
    <dgm:cxn modelId="{FBCABFA6-0639-4888-B1DE-ED882B399FA7}" type="presParOf" srcId="{46296E23-FD94-41CA-A3D7-C979269F8957}" destId="{F67226ED-8791-45D5-83C7-E8B173DEF002}" srcOrd="2" destOrd="0" presId="urn:microsoft.com/office/officeart/2005/8/layout/arrow2"/>
    <dgm:cxn modelId="{D20EEA88-7D6C-4FB3-93C1-CEDF983D7A5C}" type="presParOf" srcId="{46296E23-FD94-41CA-A3D7-C979269F8957}" destId="{01C83753-3D2E-438E-B177-3D447638659E}" srcOrd="3" destOrd="0" presId="urn:microsoft.com/office/officeart/2005/8/layout/arrow2"/>
    <dgm:cxn modelId="{C4C092A5-C010-455C-8F88-3A7300646B91}" type="presParOf" srcId="{46296E23-FD94-41CA-A3D7-C979269F8957}" destId="{FDA09194-EC79-427F-880A-4221E033689E}" srcOrd="4" destOrd="0" presId="urn:microsoft.com/office/officeart/2005/8/layout/arrow2"/>
    <dgm:cxn modelId="{3C88307C-6B75-4E20-9595-51C777BC8C5C}" type="presParOf" srcId="{46296E23-FD94-41CA-A3D7-C979269F8957}" destId="{D1657BF6-0950-4AFA-8408-C4DB46D0AF9F}"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atin typeface="Arial" pitchFamily="34" charset="0"/>
                <a:ea typeface="+mn-ea"/>
                <a:cs typeface="+mn-cs"/>
              </a:defRPr>
            </a:lvl1pPr>
          </a:lstStyle>
          <a:p>
            <a:pPr>
              <a:defRPr/>
            </a:pPr>
            <a:endParaRPr lang="de-DE" dirty="0"/>
          </a:p>
        </p:txBody>
      </p:sp>
      <p:sp>
        <p:nvSpPr>
          <p:cNvPr id="3" name="Datumsplatzhalter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1A08F304-FC18-496B-9775-B939A58A66BF}" type="datetimeFigureOut">
              <a:rPr lang="de-DE" altLang="de-DE"/>
              <a:pPr>
                <a:defRPr/>
              </a:pPr>
              <a:t>20.07.2016</a:t>
            </a:fld>
            <a:endParaRPr lang="de-DE" altLang="de-DE" dirty="0"/>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eaLnBrk="1" hangingPunct="1">
              <a:defRPr sz="1200">
                <a:latin typeface="Arial" pitchFamily="34" charset="0"/>
                <a:ea typeface="+mn-ea"/>
                <a:cs typeface="+mn-cs"/>
              </a:defRPr>
            </a:lvl1pPr>
          </a:lstStyle>
          <a:p>
            <a:pPr>
              <a:defRPr/>
            </a:pPr>
            <a:endParaRPr lang="de-DE" dirty="0"/>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B9AF6890-28C2-47DD-8B02-282F37C34131}" type="slidenum">
              <a:rPr lang="de-DE" altLang="de-DE"/>
              <a:pPr>
                <a:defRPr/>
              </a:pPr>
              <a:t>‹Nr.›</a:t>
            </a:fld>
            <a:endParaRPr lang="de-DE" altLang="de-DE" dirty="0"/>
          </a:p>
        </p:txBody>
      </p:sp>
    </p:spTree>
    <p:extLst>
      <p:ext uri="{BB962C8B-B14F-4D97-AF65-F5344CB8AC3E}">
        <p14:creationId xmlns:p14="http://schemas.microsoft.com/office/powerpoint/2010/main" val="29502585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46400" cy="496888"/>
          </a:xfrm>
          <a:prstGeom prst="rect">
            <a:avLst/>
          </a:prstGeom>
          <a:noFill/>
          <a:ln w="12700">
            <a:noFill/>
            <a:miter lim="800000"/>
            <a:headEnd/>
            <a:tailEnd/>
          </a:ln>
        </p:spPr>
        <p:txBody>
          <a:bodyPr vert="horz" wrap="square" lIns="75581" tIns="75581" rIns="75581" bIns="43190" numCol="1" anchor="t" anchorCtr="0" compatLnSpc="1">
            <a:prstTxWarp prst="textNoShape">
              <a:avLst/>
            </a:prstTxWarp>
          </a:bodyPr>
          <a:lstStyle>
            <a:lvl1pPr defTabSz="912712" eaLnBrk="0" hangingPunct="0">
              <a:lnSpc>
                <a:spcPts val="2604"/>
              </a:lnSpc>
              <a:defRPr sz="1200">
                <a:solidFill>
                  <a:srgbClr val="FFFFFF"/>
                </a:solidFill>
                <a:latin typeface="Arial" charset="0"/>
                <a:ea typeface="+mn-ea"/>
                <a:cs typeface="+mn-cs"/>
              </a:defRPr>
            </a:lvl1pPr>
          </a:lstStyle>
          <a:p>
            <a:pPr>
              <a:defRPr/>
            </a:pPr>
            <a:endParaRPr lang="de-DE" dirty="0"/>
          </a:p>
        </p:txBody>
      </p:sp>
      <p:sp>
        <p:nvSpPr>
          <p:cNvPr id="29699" name="Rectangle 3"/>
          <p:cNvSpPr>
            <a:spLocks noGrp="1" noChangeArrowheads="1"/>
          </p:cNvSpPr>
          <p:nvPr>
            <p:ph type="dt" idx="1"/>
          </p:nvPr>
        </p:nvSpPr>
        <p:spPr bwMode="auto">
          <a:xfrm>
            <a:off x="3851275" y="0"/>
            <a:ext cx="2946400" cy="496888"/>
          </a:xfrm>
          <a:prstGeom prst="rect">
            <a:avLst/>
          </a:prstGeom>
          <a:noFill/>
          <a:ln w="12700">
            <a:noFill/>
            <a:miter lim="800000"/>
            <a:headEnd/>
            <a:tailEnd/>
          </a:ln>
        </p:spPr>
        <p:txBody>
          <a:bodyPr vert="horz" wrap="square" lIns="75581" tIns="75581" rIns="75581" bIns="43190" numCol="1" anchor="t" anchorCtr="0" compatLnSpc="1">
            <a:prstTxWarp prst="textNoShape">
              <a:avLst/>
            </a:prstTxWarp>
          </a:bodyPr>
          <a:lstStyle>
            <a:lvl1pPr algn="r" defTabSz="912712" eaLnBrk="0" hangingPunct="0">
              <a:lnSpc>
                <a:spcPts val="2604"/>
              </a:lnSpc>
              <a:defRPr sz="1200">
                <a:solidFill>
                  <a:srgbClr val="FFFFFF"/>
                </a:solidFill>
                <a:latin typeface="Arial" charset="0"/>
                <a:ea typeface="+mn-ea"/>
                <a:cs typeface="+mn-cs"/>
              </a:defRPr>
            </a:lvl1pPr>
          </a:lstStyle>
          <a:p>
            <a:pPr>
              <a:defRPr/>
            </a:pPr>
            <a:endParaRPr lang="de-DE" dirty="0"/>
          </a:p>
        </p:txBody>
      </p:sp>
      <p:sp>
        <p:nvSpPr>
          <p:cNvPr id="8196" name="Rectangle 4"/>
          <p:cNvSpPr>
            <a:spLocks noGrp="1" noRot="1" noChangeAspect="1" noChangeArrowheads="1" noTextEdit="1"/>
          </p:cNvSpPr>
          <p:nvPr>
            <p:ph type="sldImg" idx="2"/>
          </p:nvPr>
        </p:nvSpPr>
        <p:spPr bwMode="auto">
          <a:xfrm>
            <a:off x="919163" y="746125"/>
            <a:ext cx="4959350" cy="37211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906463" y="4714875"/>
            <a:ext cx="4984750" cy="4467225"/>
          </a:xfrm>
          <a:prstGeom prst="rect">
            <a:avLst/>
          </a:prstGeom>
          <a:noFill/>
          <a:ln w="12700">
            <a:noFill/>
            <a:miter lim="800000"/>
            <a:headEnd/>
            <a:tailEnd/>
          </a:ln>
        </p:spPr>
        <p:txBody>
          <a:bodyPr vert="horz" wrap="square" lIns="75581" tIns="75581" rIns="75581" bIns="43190" numCol="1" anchor="t" anchorCtr="0" compatLnSpc="1">
            <a:prstTxWarp prst="textNoShape">
              <a:avLst/>
            </a:prstTxWarp>
          </a:bodyPr>
          <a:lstStyle/>
          <a:p>
            <a:pPr lvl="0"/>
            <a:r>
              <a:rPr lang="de-DE" altLang="de-DE" noProof="0" smtClean="0"/>
              <a:t>Klicken Sie, um die Formate des Vorlagentextes zu bearbeiten</a:t>
            </a:r>
          </a:p>
          <a:p>
            <a:pPr lvl="1"/>
            <a:r>
              <a:rPr lang="de-DE" altLang="de-DE" noProof="0" smtClean="0"/>
              <a:t>Zweite Ebene</a:t>
            </a:r>
          </a:p>
          <a:p>
            <a:pPr lvl="2"/>
            <a:r>
              <a:rPr lang="de-DE" altLang="de-DE" noProof="0" smtClean="0"/>
              <a:t>Dritte Ebene</a:t>
            </a:r>
          </a:p>
          <a:p>
            <a:pPr lvl="3"/>
            <a:r>
              <a:rPr lang="de-DE" altLang="de-DE" noProof="0" smtClean="0"/>
              <a:t>Vierte Ebene</a:t>
            </a:r>
          </a:p>
          <a:p>
            <a:pPr lvl="4"/>
            <a:r>
              <a:rPr lang="de-DE" altLang="de-DE" noProof="0" smtClean="0"/>
              <a:t>Fünfte Ebene</a:t>
            </a:r>
          </a:p>
        </p:txBody>
      </p:sp>
      <p:sp>
        <p:nvSpPr>
          <p:cNvPr id="29702" name="Rectangle 6"/>
          <p:cNvSpPr>
            <a:spLocks noGrp="1" noChangeArrowheads="1"/>
          </p:cNvSpPr>
          <p:nvPr>
            <p:ph type="ftr" sz="quarter" idx="4"/>
          </p:nvPr>
        </p:nvSpPr>
        <p:spPr bwMode="auto">
          <a:xfrm>
            <a:off x="0" y="9429750"/>
            <a:ext cx="2946400" cy="496888"/>
          </a:xfrm>
          <a:prstGeom prst="rect">
            <a:avLst/>
          </a:prstGeom>
          <a:noFill/>
          <a:ln w="12700">
            <a:noFill/>
            <a:miter lim="800000"/>
            <a:headEnd/>
            <a:tailEnd/>
          </a:ln>
        </p:spPr>
        <p:txBody>
          <a:bodyPr vert="horz" wrap="square" lIns="75581" tIns="75581" rIns="75581" bIns="43190" numCol="1" anchor="b" anchorCtr="0" compatLnSpc="1">
            <a:prstTxWarp prst="textNoShape">
              <a:avLst/>
            </a:prstTxWarp>
          </a:bodyPr>
          <a:lstStyle>
            <a:lvl1pPr defTabSz="912712" eaLnBrk="0" hangingPunct="0">
              <a:lnSpc>
                <a:spcPts val="2604"/>
              </a:lnSpc>
              <a:defRPr sz="1200">
                <a:solidFill>
                  <a:srgbClr val="FFFFFF"/>
                </a:solidFill>
                <a:latin typeface="Arial" charset="0"/>
                <a:ea typeface="+mn-ea"/>
                <a:cs typeface="+mn-cs"/>
              </a:defRPr>
            </a:lvl1pPr>
          </a:lstStyle>
          <a:p>
            <a:pPr>
              <a:defRPr/>
            </a:pPr>
            <a:endParaRPr lang="de-DE" dirty="0"/>
          </a:p>
        </p:txBody>
      </p:sp>
      <p:sp>
        <p:nvSpPr>
          <p:cNvPr id="29703" name="Rectangle 7"/>
          <p:cNvSpPr>
            <a:spLocks noGrp="1" noChangeArrowheads="1"/>
          </p:cNvSpPr>
          <p:nvPr>
            <p:ph type="sldNum" sz="quarter" idx="5"/>
          </p:nvPr>
        </p:nvSpPr>
        <p:spPr bwMode="auto">
          <a:xfrm>
            <a:off x="3851275" y="9429750"/>
            <a:ext cx="2946400" cy="496888"/>
          </a:xfrm>
          <a:prstGeom prst="rect">
            <a:avLst/>
          </a:prstGeom>
          <a:noFill/>
          <a:ln w="12700">
            <a:noFill/>
            <a:miter lim="800000"/>
            <a:headEnd/>
            <a:tailEnd/>
          </a:ln>
        </p:spPr>
        <p:txBody>
          <a:bodyPr vert="horz" wrap="square" lIns="75581" tIns="75581" rIns="75581" bIns="43190" numCol="1" anchor="b" anchorCtr="0" compatLnSpc="1">
            <a:prstTxWarp prst="textNoShape">
              <a:avLst/>
            </a:prstTxWarp>
          </a:bodyPr>
          <a:lstStyle>
            <a:lvl1pPr algn="r" defTabSz="911225" eaLnBrk="0" hangingPunct="0">
              <a:lnSpc>
                <a:spcPts val="2600"/>
              </a:lnSpc>
              <a:defRPr sz="1200">
                <a:solidFill>
                  <a:srgbClr val="FFFFFF"/>
                </a:solidFill>
              </a:defRPr>
            </a:lvl1pPr>
          </a:lstStyle>
          <a:p>
            <a:pPr>
              <a:defRPr/>
            </a:pPr>
            <a:fld id="{CFABD9FD-6EB1-440D-88ED-F82F8F7BCA7D}" type="slidenum">
              <a:rPr lang="de-DE" altLang="de-DE"/>
              <a:pPr>
                <a:defRPr/>
              </a:pPr>
              <a:t>‹Nr.›</a:t>
            </a:fld>
            <a:endParaRPr lang="de-DE" altLang="de-DE" dirty="0"/>
          </a:p>
        </p:txBody>
      </p:sp>
    </p:spTree>
    <p:extLst>
      <p:ext uri="{BB962C8B-B14F-4D97-AF65-F5344CB8AC3E}">
        <p14:creationId xmlns:p14="http://schemas.microsoft.com/office/powerpoint/2010/main" val="216482118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0"/>
      </a:spcBef>
      <a:spcAft>
        <a:spcPts val="600"/>
      </a:spcAft>
      <a:defRPr sz="1200" kern="1200">
        <a:solidFill>
          <a:schemeClr val="tx1"/>
        </a:solidFill>
        <a:latin typeface="Arial" charset="0"/>
        <a:ea typeface="MS PGothic" panose="020B0600070205080204" pitchFamily="34" charset="-128"/>
        <a:cs typeface="ＭＳ Ｐゴシック" charset="0"/>
      </a:defRPr>
    </a:lvl1pPr>
    <a:lvl2pPr marL="269875" indent="-90488" algn="l" rtl="0" eaLnBrk="0" fontAlgn="base" hangingPunct="0">
      <a:spcBef>
        <a:spcPct val="0"/>
      </a:spcBef>
      <a:spcAft>
        <a:spcPts val="600"/>
      </a:spcAft>
      <a:buChar char="•"/>
      <a:defRPr sz="1200" kern="1200">
        <a:solidFill>
          <a:schemeClr val="tx1"/>
        </a:solidFill>
        <a:latin typeface="Arial" charset="0"/>
        <a:ea typeface="MS PGothic" panose="020B0600070205080204" pitchFamily="34" charset="-128"/>
        <a:cs typeface="+mn-cs"/>
      </a:defRPr>
    </a:lvl2pPr>
    <a:lvl3pPr marL="542925" indent="-93663" algn="l" rtl="0" eaLnBrk="0" fontAlgn="base" hangingPunct="0">
      <a:spcBef>
        <a:spcPct val="0"/>
      </a:spcBef>
      <a:spcAft>
        <a:spcPts val="600"/>
      </a:spcAft>
      <a:buChar char="•"/>
      <a:defRPr sz="1200" kern="1200">
        <a:solidFill>
          <a:schemeClr val="tx1"/>
        </a:solidFill>
        <a:latin typeface="Arial" charset="0"/>
        <a:ea typeface="MS PGothic" panose="020B0600070205080204" pitchFamily="34" charset="-128"/>
        <a:cs typeface="+mn-cs"/>
      </a:defRPr>
    </a:lvl3pPr>
    <a:lvl4pPr marL="809625" indent="-87313" algn="l" rtl="0" eaLnBrk="0" fontAlgn="base" hangingPunct="0">
      <a:spcBef>
        <a:spcPct val="0"/>
      </a:spcBef>
      <a:spcAft>
        <a:spcPts val="600"/>
      </a:spcAft>
      <a:buChar char="•"/>
      <a:defRPr sz="1200" kern="1200">
        <a:solidFill>
          <a:schemeClr val="tx1"/>
        </a:solidFill>
        <a:latin typeface="Arial" charset="0"/>
        <a:ea typeface="MS PGothic" panose="020B0600070205080204" pitchFamily="34" charset="-128"/>
        <a:cs typeface="+mn-cs"/>
      </a:defRPr>
    </a:lvl4pPr>
    <a:lvl5pPr marL="1079500" indent="-90488" algn="l" rtl="0" eaLnBrk="0" fontAlgn="base" hangingPunct="0">
      <a:spcBef>
        <a:spcPct val="0"/>
      </a:spcBef>
      <a:spcAft>
        <a:spcPts val="600"/>
      </a:spcAft>
      <a:buChar char="•"/>
      <a:defRPr sz="1200" kern="1200">
        <a:solidFill>
          <a:schemeClr val="tx1"/>
        </a:solidFill>
        <a:latin typeface="Arial" charset="0"/>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CFABD9FD-6EB1-440D-88ED-F82F8F7BCA7D}" type="slidenum">
              <a:rPr lang="de-DE" altLang="de-DE" smtClean="0"/>
              <a:pPr>
                <a:defRPr/>
              </a:pPr>
              <a:t>3</a:t>
            </a:fld>
            <a:endParaRPr lang="de-DE" altLang="de-DE"/>
          </a:p>
        </p:txBody>
      </p:sp>
    </p:spTree>
    <p:extLst>
      <p:ext uri="{BB962C8B-B14F-4D97-AF65-F5344CB8AC3E}">
        <p14:creationId xmlns:p14="http://schemas.microsoft.com/office/powerpoint/2010/main" val="29709414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CFABD9FD-6EB1-440D-88ED-F82F8F7BCA7D}" type="slidenum">
              <a:rPr lang="de-DE" altLang="de-DE" smtClean="0"/>
              <a:pPr>
                <a:defRPr/>
              </a:pPr>
              <a:t>10</a:t>
            </a:fld>
            <a:endParaRPr lang="de-DE" altLang="de-DE" dirty="0"/>
          </a:p>
        </p:txBody>
      </p:sp>
    </p:spTree>
    <p:extLst>
      <p:ext uri="{BB962C8B-B14F-4D97-AF65-F5344CB8AC3E}">
        <p14:creationId xmlns:p14="http://schemas.microsoft.com/office/powerpoint/2010/main" val="3180730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2811F7CC-B82A-42C1-95BD-FFE95400AE5C}" type="slidenum">
              <a:rPr lang="de-DE" smtClean="0">
                <a:solidFill>
                  <a:prstClr val="black"/>
                </a:solidFill>
              </a:rPr>
              <a:pPr/>
              <a:t>19</a:t>
            </a:fld>
            <a:endParaRPr lang="de-DE" dirty="0">
              <a:solidFill>
                <a:prstClr val="black"/>
              </a:solidFill>
            </a:endParaRPr>
          </a:p>
        </p:txBody>
      </p:sp>
    </p:spTree>
    <p:extLst>
      <p:ext uri="{BB962C8B-B14F-4D97-AF65-F5344CB8AC3E}">
        <p14:creationId xmlns:p14="http://schemas.microsoft.com/office/powerpoint/2010/main" val="2803241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4"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de-DE" altLang="de-DE" sz="1000" dirty="0" smtClean="0">
                <a:solidFill>
                  <a:schemeClr val="bg1"/>
                </a:solidFill>
                <a:latin typeface="Calibri" panose="020F0502020204030204" pitchFamily="34" charset="0"/>
              </a:rPr>
              <a:t>Seite </a:t>
            </a:r>
            <a:fld id="{BB7DFA4A-2CA6-47EF-9062-DC861A22BBE8}" type="slidenum">
              <a:rPr lang="de-DE" altLang="de-DE" sz="1000" smtClean="0">
                <a:solidFill>
                  <a:schemeClr val="bg1"/>
                </a:solidFill>
                <a:latin typeface="Calibri" panose="020F0502020204030204" pitchFamily="34" charset="0"/>
              </a:rPr>
              <a:pPr eaLnBrk="1" hangingPunct="1">
                <a:defRPr/>
              </a:pPr>
              <a:t>‹Nr.›</a:t>
            </a:fld>
            <a:endParaRPr lang="de-DE" altLang="de-DE" sz="1000" dirty="0" smtClean="0">
              <a:solidFill>
                <a:schemeClr val="bg1"/>
              </a:solidFill>
              <a:latin typeface="Calibri" panose="020F0502020204030204" pitchFamily="34" charset="0"/>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lvl1pPr>
              <a:spcBef>
                <a:spcPts val="0"/>
              </a:spcBef>
              <a:defRPr sz="1800"/>
            </a:lvl1pPr>
            <a:lvl2pPr>
              <a:spcBef>
                <a:spcPts val="0"/>
              </a:spcBef>
              <a:defRPr sz="1800"/>
            </a:lvl2pPr>
            <a:lvl3pPr>
              <a:spcBef>
                <a:spcPts val="0"/>
              </a:spcBef>
              <a:defRPr sz="1800"/>
            </a:lvl3pPr>
            <a:lvl4pPr>
              <a:spcBef>
                <a:spcPts val="0"/>
              </a:spcBef>
              <a:defRPr sz="1800"/>
            </a:lvl4pPr>
            <a:lvl5pPr marL="1206000">
              <a:spcBef>
                <a:spcPts val="0"/>
              </a:spcBef>
              <a:defRPr sz="18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6633364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4_Titel und Inhalt">
    <p:spTree>
      <p:nvGrpSpPr>
        <p:cNvPr id="1" name=""/>
        <p:cNvGrpSpPr/>
        <p:nvPr/>
      </p:nvGrpSpPr>
      <p:grpSpPr>
        <a:xfrm>
          <a:off x="0" y="0"/>
          <a:ext cx="0" cy="0"/>
          <a:chOff x="0" y="0"/>
          <a:chExt cx="0" cy="0"/>
        </a:xfrm>
      </p:grpSpPr>
      <p:sp>
        <p:nvSpPr>
          <p:cNvPr id="4" name="Rechteck 3"/>
          <p:cNvSpPr/>
          <p:nvPr userDrawn="1"/>
        </p:nvSpPr>
        <p:spPr>
          <a:xfrm>
            <a:off x="468313" y="108902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5" name="Rechteck 4"/>
          <p:cNvSpPr/>
          <p:nvPr userDrawn="1"/>
        </p:nvSpPr>
        <p:spPr>
          <a:xfrm>
            <a:off x="468313" y="632777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2" name="Titel 1"/>
          <p:cNvSpPr>
            <a:spLocks noGrp="1"/>
          </p:cNvSpPr>
          <p:nvPr>
            <p:ph type="title"/>
          </p:nvPr>
        </p:nvSpPr>
        <p:spPr>
          <a:xfrm>
            <a:off x="539553" y="1265237"/>
            <a:ext cx="8064896" cy="795611"/>
          </a:xfrm>
          <a:solidFill>
            <a:srgbClr val="DFE6F0"/>
          </a:solidFill>
          <a:ln>
            <a:solidFill>
              <a:schemeClr val="accent1"/>
            </a:solidFill>
          </a:ln>
        </p:spPr>
        <p:txBody>
          <a:bodyPr/>
          <a:lstStyle>
            <a:lvl1pPr>
              <a:defRPr>
                <a:solidFill>
                  <a:schemeClr val="accent4"/>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539750" y="2348880"/>
            <a:ext cx="8064500" cy="3385170"/>
          </a:xfrm>
        </p:spPr>
        <p:txBody>
          <a:bodyPr/>
          <a:lstStyle>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3"/>
          <p:cNvSpPr>
            <a:spLocks noGrp="1"/>
          </p:cNvSpPr>
          <p:nvPr>
            <p:ph type="ftr" sz="quarter" idx="10"/>
          </p:nvPr>
        </p:nvSpPr>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7" name="Foliennummernplatzhalter 4"/>
          <p:cNvSpPr>
            <a:spLocks noGrp="1"/>
          </p:cNvSpPr>
          <p:nvPr>
            <p:ph type="sldNum" sz="quarter" idx="11"/>
          </p:nvPr>
        </p:nvSpPr>
        <p:spPr/>
        <p:txBody>
          <a:bodyPr/>
          <a:lstStyle>
            <a:lvl1pPr>
              <a:defRPr/>
            </a:lvl1pPr>
          </a:lstStyle>
          <a:p>
            <a:pPr>
              <a:defRPr/>
            </a:pPr>
            <a:fld id="{B40BE4C7-A731-4320-A4E3-0EF8187CE881}" type="slidenum">
              <a:rPr lang="de-DE">
                <a:solidFill>
                  <a:srgbClr val="000000"/>
                </a:solidFill>
              </a:rPr>
              <a:pPr>
                <a:defRPr/>
              </a:pPr>
              <a:t>‹Nr.›</a:t>
            </a:fld>
            <a:endParaRPr lang="de-DE" dirty="0">
              <a:solidFill>
                <a:srgbClr val="000000"/>
              </a:solidFill>
            </a:endParaRPr>
          </a:p>
        </p:txBody>
      </p:sp>
      <p:sp>
        <p:nvSpPr>
          <p:cNvPr id="8" name="Datumsplatzhalter 5"/>
          <p:cNvSpPr>
            <a:spLocks noGrp="1"/>
          </p:cNvSpPr>
          <p:nvPr>
            <p:ph type="dt" sz="half" idx="12"/>
          </p:nvPr>
        </p:nvSpPr>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1455023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sp>
        <p:nvSpPr>
          <p:cNvPr id="4" name="Rechteck 3"/>
          <p:cNvSpPr/>
          <p:nvPr userDrawn="1"/>
        </p:nvSpPr>
        <p:spPr>
          <a:xfrm>
            <a:off x="468313" y="108902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5" name="Rechteck 4"/>
          <p:cNvSpPr/>
          <p:nvPr userDrawn="1"/>
        </p:nvSpPr>
        <p:spPr>
          <a:xfrm>
            <a:off x="468313" y="632777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2" name="Titel 1"/>
          <p:cNvSpPr>
            <a:spLocks noGrp="1"/>
          </p:cNvSpPr>
          <p:nvPr>
            <p:ph type="title"/>
          </p:nvPr>
        </p:nvSpPr>
        <p:spPr>
          <a:xfrm>
            <a:off x="539553" y="1265237"/>
            <a:ext cx="8064896" cy="795611"/>
          </a:xfrm>
          <a:solidFill>
            <a:srgbClr val="BFCDE1"/>
          </a:solidFill>
          <a:ln>
            <a:solidFill>
              <a:schemeClr val="accent1"/>
            </a:solidFill>
          </a:ln>
        </p:spPr>
        <p:txBody>
          <a:bodyPr/>
          <a:lstStyle>
            <a:lvl1pPr>
              <a:defRPr>
                <a:solidFill>
                  <a:schemeClr val="accent4"/>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539750" y="2348880"/>
            <a:ext cx="8064500" cy="3385170"/>
          </a:xfrm>
        </p:spPr>
        <p:txBody>
          <a:bodyPr/>
          <a:lstStyle>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3"/>
          <p:cNvSpPr>
            <a:spLocks noGrp="1"/>
          </p:cNvSpPr>
          <p:nvPr>
            <p:ph type="ftr" sz="quarter" idx="10"/>
          </p:nvPr>
        </p:nvSpPr>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7" name="Foliennummernplatzhalter 4"/>
          <p:cNvSpPr>
            <a:spLocks noGrp="1"/>
          </p:cNvSpPr>
          <p:nvPr>
            <p:ph type="sldNum" sz="quarter" idx="11"/>
          </p:nvPr>
        </p:nvSpPr>
        <p:spPr/>
        <p:txBody>
          <a:bodyPr/>
          <a:lstStyle>
            <a:lvl1pPr>
              <a:defRPr/>
            </a:lvl1pPr>
          </a:lstStyle>
          <a:p>
            <a:pPr>
              <a:defRPr/>
            </a:pPr>
            <a:fld id="{6F647EBE-1E82-4BCD-83AD-4D4C852C1121}" type="slidenum">
              <a:rPr lang="de-DE">
                <a:solidFill>
                  <a:srgbClr val="000000"/>
                </a:solidFill>
              </a:rPr>
              <a:pPr>
                <a:defRPr/>
              </a:pPr>
              <a:t>‹Nr.›</a:t>
            </a:fld>
            <a:endParaRPr lang="de-DE" dirty="0">
              <a:solidFill>
                <a:srgbClr val="000000"/>
              </a:solidFill>
            </a:endParaRPr>
          </a:p>
        </p:txBody>
      </p:sp>
      <p:sp>
        <p:nvSpPr>
          <p:cNvPr id="8" name="Datumsplatzhalter 5"/>
          <p:cNvSpPr>
            <a:spLocks noGrp="1"/>
          </p:cNvSpPr>
          <p:nvPr>
            <p:ph type="dt" sz="half" idx="12"/>
          </p:nvPr>
        </p:nvSpPr>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744505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Titel und Inhalt">
    <p:spTree>
      <p:nvGrpSpPr>
        <p:cNvPr id="1" name=""/>
        <p:cNvGrpSpPr/>
        <p:nvPr/>
      </p:nvGrpSpPr>
      <p:grpSpPr>
        <a:xfrm>
          <a:off x="0" y="0"/>
          <a:ext cx="0" cy="0"/>
          <a:chOff x="0" y="0"/>
          <a:chExt cx="0" cy="0"/>
        </a:xfrm>
      </p:grpSpPr>
      <p:sp>
        <p:nvSpPr>
          <p:cNvPr id="4" name="Rechteck 3"/>
          <p:cNvSpPr/>
          <p:nvPr userDrawn="1"/>
        </p:nvSpPr>
        <p:spPr>
          <a:xfrm>
            <a:off x="539750" y="2060575"/>
            <a:ext cx="8064500"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5" name="Rechteck 4"/>
          <p:cNvSpPr/>
          <p:nvPr userDrawn="1"/>
        </p:nvSpPr>
        <p:spPr>
          <a:xfrm rot="5400000">
            <a:off x="-118268" y="1485106"/>
            <a:ext cx="1223962"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6" name="Rechteck 5"/>
          <p:cNvSpPr/>
          <p:nvPr userDrawn="1"/>
        </p:nvSpPr>
        <p:spPr>
          <a:xfrm rot="5400000">
            <a:off x="8035132" y="1485106"/>
            <a:ext cx="1223962"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7" name="Rechteck 6"/>
          <p:cNvSpPr/>
          <p:nvPr userDrawn="1"/>
        </p:nvSpPr>
        <p:spPr>
          <a:xfrm>
            <a:off x="457200" y="122872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8" name="Rechteck 7"/>
          <p:cNvSpPr/>
          <p:nvPr userDrawn="1"/>
        </p:nvSpPr>
        <p:spPr>
          <a:xfrm>
            <a:off x="468313" y="632777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2" name="Titel 1"/>
          <p:cNvSpPr>
            <a:spLocks noGrp="1"/>
          </p:cNvSpPr>
          <p:nvPr>
            <p:ph type="title"/>
          </p:nvPr>
        </p:nvSpPr>
        <p:spPr>
          <a:solidFill>
            <a:srgbClr val="BFCDE1"/>
          </a:solidFill>
        </p:spPr>
        <p:txBody>
          <a:bodyPr/>
          <a:lstStyle>
            <a:lvl1pPr>
              <a:defRPr>
                <a:solidFill>
                  <a:schemeClr val="accent4"/>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539750" y="2348880"/>
            <a:ext cx="8064500" cy="3385170"/>
          </a:xfrm>
        </p:spPr>
        <p:txBody>
          <a:bodyPr/>
          <a:lstStyle>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Fußzeilenplatzhalter 3"/>
          <p:cNvSpPr>
            <a:spLocks noGrp="1"/>
          </p:cNvSpPr>
          <p:nvPr>
            <p:ph type="ftr" sz="quarter" idx="10"/>
          </p:nvPr>
        </p:nvSpPr>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10" name="Foliennummernplatzhalter 4"/>
          <p:cNvSpPr>
            <a:spLocks noGrp="1"/>
          </p:cNvSpPr>
          <p:nvPr>
            <p:ph type="sldNum" sz="quarter" idx="11"/>
          </p:nvPr>
        </p:nvSpPr>
        <p:spPr/>
        <p:txBody>
          <a:bodyPr/>
          <a:lstStyle>
            <a:lvl1pPr>
              <a:defRPr/>
            </a:lvl1pPr>
          </a:lstStyle>
          <a:p>
            <a:pPr>
              <a:defRPr/>
            </a:pPr>
            <a:fld id="{BB9607A1-D0D4-43F5-B444-BB740B00EF05}" type="slidenum">
              <a:rPr lang="de-DE">
                <a:solidFill>
                  <a:srgbClr val="000000"/>
                </a:solidFill>
              </a:rPr>
              <a:pPr>
                <a:defRPr/>
              </a:pPr>
              <a:t>‹Nr.›</a:t>
            </a:fld>
            <a:endParaRPr lang="de-DE" dirty="0">
              <a:solidFill>
                <a:srgbClr val="000000"/>
              </a:solidFill>
            </a:endParaRPr>
          </a:p>
        </p:txBody>
      </p:sp>
      <p:sp>
        <p:nvSpPr>
          <p:cNvPr id="11" name="Datumsplatzhalter 5"/>
          <p:cNvSpPr>
            <a:spLocks noGrp="1"/>
          </p:cNvSpPr>
          <p:nvPr>
            <p:ph type="dt" sz="half" idx="12"/>
          </p:nvPr>
        </p:nvSpPr>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4032552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6" name="Picture 2" descr="H:\Neuer Ordner\mai_05.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205038"/>
            <a:ext cx="9144000"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539750" y="3573463"/>
            <a:ext cx="8064500" cy="1470025"/>
          </a:xfrm>
          <a:extLst>
            <a:ext uri="{91240B29-F687-4F45-9708-019B960494DF}">
              <a14:hiddenLine xmlns:a14="http://schemas.microsoft.com/office/drawing/2010/main" w="9525">
                <a:solidFill>
                  <a:schemeClr val="tx1"/>
                </a:solidFill>
                <a:miter lim="800000"/>
                <a:headEnd/>
                <a:tailEnd/>
              </a14:hiddenLine>
            </a:ext>
          </a:extLst>
        </p:spPr>
        <p:txBody>
          <a:bodyPr anchor="t"/>
          <a:lstStyle>
            <a:lvl1pPr>
              <a:defRPr sz="3200">
                <a:solidFill>
                  <a:schemeClr val="tx1"/>
                </a:solidFill>
                <a:latin typeface="Arial" pitchFamily="34" charset="0"/>
              </a:defRPr>
            </a:lvl1pPr>
          </a:lstStyle>
          <a:p>
            <a:pPr lvl="0"/>
            <a:r>
              <a:rPr lang="de-DE" noProof="0" smtClean="0"/>
              <a:t>Titelmasterformat durch Klicken bearbeiten</a:t>
            </a:r>
          </a:p>
        </p:txBody>
      </p:sp>
      <p:pic>
        <p:nvPicPr>
          <p:cNvPr id="2" name="Grafik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04248" y="548680"/>
            <a:ext cx="1802904" cy="643894"/>
          </a:xfrm>
          <a:prstGeom prst="rect">
            <a:avLst/>
          </a:prstGeom>
        </p:spPr>
      </p:pic>
    </p:spTree>
    <p:extLst>
      <p:ext uri="{BB962C8B-B14F-4D97-AF65-F5344CB8AC3E}">
        <p14:creationId xmlns:p14="http://schemas.microsoft.com/office/powerpoint/2010/main" val="23537579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fld id="{850CE38C-0E00-48CD-B74A-05A206AD8BE6}" type="slidenum">
              <a:rPr lang="de-DE">
                <a:solidFill>
                  <a:srgbClr val="000000"/>
                </a:solidFill>
              </a:rPr>
              <a:pPr>
                <a:defRPr/>
              </a:pPr>
              <a:t>‹Nr.›</a:t>
            </a:fld>
            <a:endParaRPr lang="de-DE" dirty="0">
              <a:solidFill>
                <a:srgbClr val="000000"/>
              </a:solidFill>
            </a:endParaRPr>
          </a:p>
        </p:txBody>
      </p:sp>
      <p:sp>
        <p:nvSpPr>
          <p:cNvPr id="6"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3779972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39750" y="2133600"/>
            <a:ext cx="3956050" cy="3600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133600"/>
            <a:ext cx="3956050" cy="3600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fld id="{06D91B1E-EE79-414D-8970-540A0A0BBD49}" type="slidenum">
              <a:rPr lang="de-DE">
                <a:solidFill>
                  <a:srgbClr val="000000"/>
                </a:solidFill>
              </a:rPr>
              <a:pPr>
                <a:defRPr/>
              </a:pPr>
              <a:t>‹Nr.›</a:t>
            </a:fld>
            <a:endParaRPr lang="de-DE" dirty="0">
              <a:solidFill>
                <a:srgbClr val="000000"/>
              </a:solidFill>
            </a:endParaRPr>
          </a:p>
        </p:txBody>
      </p:sp>
      <p:sp>
        <p:nvSpPr>
          <p:cNvPr id="7"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32382788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8" name="Rectangle 8"/>
          <p:cNvSpPr>
            <a:spLocks noGrp="1" noChangeArrowheads="1"/>
          </p:cNvSpPr>
          <p:nvPr>
            <p:ph type="sldNum" sz="quarter" idx="11"/>
          </p:nvPr>
        </p:nvSpPr>
        <p:spPr>
          <a:ln/>
        </p:spPr>
        <p:txBody>
          <a:bodyPr/>
          <a:lstStyle>
            <a:lvl1pPr>
              <a:defRPr/>
            </a:lvl1pPr>
          </a:lstStyle>
          <a:p>
            <a:pPr>
              <a:defRPr/>
            </a:pPr>
            <a:fld id="{3127E2FF-3E6B-44E4-9383-3DED700C8F6E}" type="slidenum">
              <a:rPr lang="de-DE">
                <a:solidFill>
                  <a:srgbClr val="000000"/>
                </a:solidFill>
              </a:rPr>
              <a:pPr>
                <a:defRPr/>
              </a:pPr>
              <a:t>‹Nr.›</a:t>
            </a:fld>
            <a:endParaRPr lang="de-DE" dirty="0">
              <a:solidFill>
                <a:srgbClr val="000000"/>
              </a:solidFill>
            </a:endParaRPr>
          </a:p>
        </p:txBody>
      </p:sp>
      <p:sp>
        <p:nvSpPr>
          <p:cNvPr id="9"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1219341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4" name="Rectangle 8"/>
          <p:cNvSpPr>
            <a:spLocks noGrp="1" noChangeArrowheads="1"/>
          </p:cNvSpPr>
          <p:nvPr>
            <p:ph type="sldNum" sz="quarter" idx="11"/>
          </p:nvPr>
        </p:nvSpPr>
        <p:spPr>
          <a:ln/>
        </p:spPr>
        <p:txBody>
          <a:bodyPr/>
          <a:lstStyle>
            <a:lvl1pPr>
              <a:defRPr/>
            </a:lvl1pPr>
          </a:lstStyle>
          <a:p>
            <a:pPr>
              <a:defRPr/>
            </a:pPr>
            <a:fld id="{3A6DEBCF-1421-49C1-877A-75C9A521E766}" type="slidenum">
              <a:rPr lang="de-DE">
                <a:solidFill>
                  <a:srgbClr val="000000"/>
                </a:solidFill>
              </a:rPr>
              <a:pPr>
                <a:defRPr/>
              </a:pPr>
              <a:t>‹Nr.›</a:t>
            </a:fld>
            <a:endParaRPr lang="de-DE" dirty="0">
              <a:solidFill>
                <a:srgbClr val="000000"/>
              </a:solidFill>
            </a:endParaRPr>
          </a:p>
        </p:txBody>
      </p:sp>
      <p:sp>
        <p:nvSpPr>
          <p:cNvPr id="5"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1724216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3" name="Rectangle 8"/>
          <p:cNvSpPr>
            <a:spLocks noGrp="1" noChangeArrowheads="1"/>
          </p:cNvSpPr>
          <p:nvPr>
            <p:ph type="sldNum" sz="quarter" idx="11"/>
          </p:nvPr>
        </p:nvSpPr>
        <p:spPr>
          <a:ln/>
        </p:spPr>
        <p:txBody>
          <a:bodyPr/>
          <a:lstStyle>
            <a:lvl1pPr>
              <a:defRPr/>
            </a:lvl1pPr>
          </a:lstStyle>
          <a:p>
            <a:pPr>
              <a:defRPr/>
            </a:pPr>
            <a:fld id="{52293BB8-3362-450A-8475-54FF492B96EA}" type="slidenum">
              <a:rPr lang="de-DE">
                <a:solidFill>
                  <a:srgbClr val="000000"/>
                </a:solidFill>
              </a:rPr>
              <a:pPr>
                <a:defRPr/>
              </a:pPr>
              <a:t>‹Nr.›</a:t>
            </a:fld>
            <a:endParaRPr lang="de-DE" dirty="0">
              <a:solidFill>
                <a:srgbClr val="000000"/>
              </a:solidFill>
            </a:endParaRPr>
          </a:p>
        </p:txBody>
      </p:sp>
      <p:sp>
        <p:nvSpPr>
          <p:cNvPr id="4"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33483211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fld id="{BBDE0CC2-83CD-4F4C-9893-F1509ED01140}" type="slidenum">
              <a:rPr lang="de-DE">
                <a:solidFill>
                  <a:srgbClr val="000000"/>
                </a:solidFill>
              </a:rPr>
              <a:pPr>
                <a:defRPr/>
              </a:pPr>
              <a:t>‹Nr.›</a:t>
            </a:fld>
            <a:endParaRPr lang="de-DE" dirty="0">
              <a:solidFill>
                <a:srgbClr val="000000"/>
              </a:solidFill>
            </a:endParaRPr>
          </a:p>
        </p:txBody>
      </p:sp>
      <p:sp>
        <p:nvSpPr>
          <p:cNvPr id="7"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951314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2">
    <p:spTree>
      <p:nvGrpSpPr>
        <p:cNvPr id="1" name=""/>
        <p:cNvGrpSpPr/>
        <p:nvPr/>
      </p:nvGrpSpPr>
      <p:grpSpPr>
        <a:xfrm>
          <a:off x="0" y="0"/>
          <a:ext cx="0" cy="0"/>
          <a:chOff x="0" y="0"/>
          <a:chExt cx="0" cy="0"/>
        </a:xfrm>
      </p:grpSpPr>
      <p:sp>
        <p:nvSpPr>
          <p:cNvPr id="5"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de-DE" altLang="de-DE" sz="1000" dirty="0" smtClean="0">
                <a:solidFill>
                  <a:schemeClr val="bg1"/>
                </a:solidFill>
                <a:latin typeface="Calibri" panose="020F0502020204030204" pitchFamily="34" charset="0"/>
              </a:rPr>
              <a:t>Seite </a:t>
            </a:r>
            <a:fld id="{20777F26-2893-4178-AD80-B182B5BEC41A}" type="slidenum">
              <a:rPr lang="de-DE" altLang="de-DE" sz="1000" smtClean="0">
                <a:solidFill>
                  <a:schemeClr val="bg1"/>
                </a:solidFill>
                <a:latin typeface="Calibri" panose="020F0502020204030204" pitchFamily="34" charset="0"/>
              </a:rPr>
              <a:pPr eaLnBrk="1" hangingPunct="1">
                <a:defRPr/>
              </a:pPr>
              <a:t>‹Nr.›</a:t>
            </a:fld>
            <a:endParaRPr lang="de-DE" altLang="de-DE" sz="1000" dirty="0" smtClean="0">
              <a:solidFill>
                <a:schemeClr val="bg1"/>
              </a:solidFill>
              <a:latin typeface="Calibri" panose="020F0502020204030204" pitchFamily="34" charset="0"/>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81000" y="1828800"/>
            <a:ext cx="4114800" cy="4648200"/>
          </a:xfrm>
        </p:spPr>
        <p:txBody>
          <a:bodyPr/>
          <a:lstStyle>
            <a:lvl1pPr marL="0" indent="0">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
        <p:nvSpPr>
          <p:cNvPr id="4" name="Inhaltsplatzhalter 3"/>
          <p:cNvSpPr>
            <a:spLocks noGrp="1"/>
          </p:cNvSpPr>
          <p:nvPr>
            <p:ph sz="half" idx="2"/>
          </p:nvPr>
        </p:nvSpPr>
        <p:spPr>
          <a:xfrm>
            <a:off x="4648200" y="1828800"/>
            <a:ext cx="4114800" cy="4648200"/>
          </a:xfrm>
        </p:spPr>
        <p:txBody>
          <a:bodyPr/>
          <a:lstStyle>
            <a:lvl1pPr marL="0" indent="0">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Tree>
    <p:extLst>
      <p:ext uri="{BB962C8B-B14F-4D97-AF65-F5344CB8AC3E}">
        <p14:creationId xmlns:p14="http://schemas.microsoft.com/office/powerpoint/2010/main" val="38984639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dirty="0" smtClean="0"/>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6" name="Rectangle 8"/>
          <p:cNvSpPr>
            <a:spLocks noGrp="1" noChangeArrowheads="1"/>
          </p:cNvSpPr>
          <p:nvPr>
            <p:ph type="sldNum" sz="quarter" idx="11"/>
          </p:nvPr>
        </p:nvSpPr>
        <p:spPr>
          <a:ln/>
        </p:spPr>
        <p:txBody>
          <a:bodyPr/>
          <a:lstStyle>
            <a:lvl1pPr>
              <a:defRPr/>
            </a:lvl1pPr>
          </a:lstStyle>
          <a:p>
            <a:pPr>
              <a:defRPr/>
            </a:pPr>
            <a:fld id="{F7F6ED46-F9B8-47FD-B7A9-D7860947990D}" type="slidenum">
              <a:rPr lang="de-DE">
                <a:solidFill>
                  <a:srgbClr val="000000"/>
                </a:solidFill>
              </a:rPr>
              <a:pPr>
                <a:defRPr/>
              </a:pPr>
              <a:t>‹Nr.›</a:t>
            </a:fld>
            <a:endParaRPr lang="de-DE" dirty="0">
              <a:solidFill>
                <a:srgbClr val="000000"/>
              </a:solidFill>
            </a:endParaRPr>
          </a:p>
        </p:txBody>
      </p:sp>
      <p:sp>
        <p:nvSpPr>
          <p:cNvPr id="7"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4936730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fld id="{C410355E-0504-4519-9449-62D360C8777A}" type="slidenum">
              <a:rPr lang="de-DE">
                <a:solidFill>
                  <a:srgbClr val="000000"/>
                </a:solidFill>
              </a:rPr>
              <a:pPr>
                <a:defRPr/>
              </a:pPr>
              <a:t>‹Nr.›</a:t>
            </a:fld>
            <a:endParaRPr lang="de-DE" dirty="0">
              <a:solidFill>
                <a:srgbClr val="000000"/>
              </a:solidFill>
            </a:endParaRPr>
          </a:p>
        </p:txBody>
      </p:sp>
      <p:sp>
        <p:nvSpPr>
          <p:cNvPr id="6"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25169245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88125" y="1268413"/>
            <a:ext cx="2016125" cy="446563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539750" y="1268413"/>
            <a:ext cx="5895975" cy="446563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7"/>
          <p:cNvSpPr>
            <a:spLocks noGrp="1" noChangeArrowheads="1"/>
          </p:cNvSpPr>
          <p:nvPr>
            <p:ph type="ftr" sz="quarter" idx="10"/>
          </p:nvPr>
        </p:nvSpPr>
        <p:spPr>
          <a:ln/>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5" name="Rectangle 8"/>
          <p:cNvSpPr>
            <a:spLocks noGrp="1" noChangeArrowheads="1"/>
          </p:cNvSpPr>
          <p:nvPr>
            <p:ph type="sldNum" sz="quarter" idx="11"/>
          </p:nvPr>
        </p:nvSpPr>
        <p:spPr>
          <a:ln/>
        </p:spPr>
        <p:txBody>
          <a:bodyPr/>
          <a:lstStyle>
            <a:lvl1pPr>
              <a:defRPr/>
            </a:lvl1pPr>
          </a:lstStyle>
          <a:p>
            <a:pPr>
              <a:defRPr/>
            </a:pPr>
            <a:fld id="{30096845-CBA9-4479-B59B-BA6DC6BE77B0}" type="slidenum">
              <a:rPr lang="de-DE">
                <a:solidFill>
                  <a:srgbClr val="000000"/>
                </a:solidFill>
              </a:rPr>
              <a:pPr>
                <a:defRPr/>
              </a:pPr>
              <a:t>‹Nr.›</a:t>
            </a:fld>
            <a:endParaRPr lang="de-DE" dirty="0">
              <a:solidFill>
                <a:srgbClr val="000000"/>
              </a:solidFill>
            </a:endParaRPr>
          </a:p>
        </p:txBody>
      </p:sp>
      <p:sp>
        <p:nvSpPr>
          <p:cNvPr id="6" name="Rectangle 13"/>
          <p:cNvSpPr>
            <a:spLocks noGrp="1" noChangeArrowheads="1"/>
          </p:cNvSpPr>
          <p:nvPr>
            <p:ph type="dt" sz="half" idx="12"/>
          </p:nvPr>
        </p:nvSpPr>
        <p:spPr>
          <a:ln/>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3629318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4"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000" dirty="0">
                <a:solidFill>
                  <a:srgbClr val="FFFFFF"/>
                </a:solidFill>
                <a:latin typeface="Calibri" panose="020F0502020204030204" pitchFamily="34" charset="0"/>
                <a:ea typeface="+mn-ea"/>
              </a:rPr>
              <a:t>Seite </a:t>
            </a:r>
            <a:fld id="{EB72222F-46BD-49D1-9F15-AA5ED28D51D6}" type="slidenum">
              <a:rPr lang="de-DE" altLang="de-DE" sz="1000">
                <a:solidFill>
                  <a:srgbClr val="FFFFFF"/>
                </a:solidFill>
                <a:latin typeface="Calibri" panose="020F0502020204030204" pitchFamily="34" charset="0"/>
                <a:ea typeface="+mn-ea"/>
              </a:rPr>
              <a:pPr eaLnBrk="1" hangingPunct="1"/>
              <a:t>‹Nr.›</a:t>
            </a:fld>
            <a:endParaRPr lang="de-DE" altLang="de-DE" sz="1000" dirty="0">
              <a:solidFill>
                <a:srgbClr val="FFFFFF"/>
              </a:solidFill>
              <a:latin typeface="Calibri" panose="020F0502020204030204" pitchFamily="34" charset="0"/>
              <a:ea typeface="+mn-ea"/>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lvl1pPr>
              <a:spcBef>
                <a:spcPts val="0"/>
              </a:spcBef>
              <a:defRPr sz="1800"/>
            </a:lvl1pPr>
            <a:lvl2pPr>
              <a:spcBef>
                <a:spcPts val="0"/>
              </a:spcBef>
              <a:defRPr sz="1800"/>
            </a:lvl2pPr>
            <a:lvl3pPr>
              <a:spcBef>
                <a:spcPts val="0"/>
              </a:spcBef>
              <a:defRPr sz="1800"/>
            </a:lvl3pPr>
            <a:lvl4pPr>
              <a:spcBef>
                <a:spcPts val="0"/>
              </a:spcBef>
              <a:defRPr sz="1800"/>
            </a:lvl4pPr>
            <a:lvl5pPr marL="1206000">
              <a:spcBef>
                <a:spcPts val="0"/>
              </a:spcBef>
              <a:defRPr sz="18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668914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2">
    <p:spTree>
      <p:nvGrpSpPr>
        <p:cNvPr id="1" name=""/>
        <p:cNvGrpSpPr/>
        <p:nvPr/>
      </p:nvGrpSpPr>
      <p:grpSpPr>
        <a:xfrm>
          <a:off x="0" y="0"/>
          <a:ext cx="0" cy="0"/>
          <a:chOff x="0" y="0"/>
          <a:chExt cx="0" cy="0"/>
        </a:xfrm>
      </p:grpSpPr>
      <p:sp>
        <p:nvSpPr>
          <p:cNvPr id="5"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000" dirty="0">
                <a:solidFill>
                  <a:srgbClr val="FFFFFF"/>
                </a:solidFill>
                <a:latin typeface="Calibri" panose="020F0502020204030204" pitchFamily="34" charset="0"/>
                <a:ea typeface="+mn-ea"/>
              </a:rPr>
              <a:t>Seite </a:t>
            </a:r>
            <a:fld id="{6E7E3B52-9953-4D27-B902-31FB6727A871}" type="slidenum">
              <a:rPr lang="de-DE" altLang="de-DE" sz="1000">
                <a:solidFill>
                  <a:srgbClr val="FFFFFF"/>
                </a:solidFill>
                <a:latin typeface="Calibri" panose="020F0502020204030204" pitchFamily="34" charset="0"/>
                <a:ea typeface="+mn-ea"/>
              </a:rPr>
              <a:pPr eaLnBrk="1" hangingPunct="1"/>
              <a:t>‹Nr.›</a:t>
            </a:fld>
            <a:endParaRPr lang="de-DE" altLang="de-DE" sz="1000" dirty="0">
              <a:solidFill>
                <a:srgbClr val="FFFFFF"/>
              </a:solidFill>
              <a:latin typeface="Calibri" panose="020F0502020204030204" pitchFamily="34" charset="0"/>
              <a:ea typeface="+mn-ea"/>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81000" y="1828800"/>
            <a:ext cx="4114800" cy="4648200"/>
          </a:xfrm>
        </p:spPr>
        <p:txBody>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
        <p:nvSpPr>
          <p:cNvPr id="4" name="Inhaltsplatzhalter 3"/>
          <p:cNvSpPr>
            <a:spLocks noGrp="1"/>
          </p:cNvSpPr>
          <p:nvPr>
            <p:ph sz="half" idx="2"/>
          </p:nvPr>
        </p:nvSpPr>
        <p:spPr>
          <a:xfrm>
            <a:off x="4648200" y="1828800"/>
            <a:ext cx="4114800" cy="4648200"/>
          </a:xfrm>
        </p:spPr>
        <p:txBody>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Tree>
    <p:extLst>
      <p:ext uri="{BB962C8B-B14F-4D97-AF65-F5344CB8AC3E}">
        <p14:creationId xmlns:p14="http://schemas.microsoft.com/office/powerpoint/2010/main" val="29878030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3">
    <p:spTree>
      <p:nvGrpSpPr>
        <p:cNvPr id="1" name=""/>
        <p:cNvGrpSpPr/>
        <p:nvPr/>
      </p:nvGrpSpPr>
      <p:grpSpPr>
        <a:xfrm>
          <a:off x="0" y="0"/>
          <a:ext cx="0" cy="0"/>
          <a:chOff x="0" y="0"/>
          <a:chExt cx="0" cy="0"/>
        </a:xfrm>
      </p:grpSpPr>
      <p:sp>
        <p:nvSpPr>
          <p:cNvPr id="3"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000" dirty="0">
                <a:solidFill>
                  <a:srgbClr val="FFFFFF"/>
                </a:solidFill>
                <a:latin typeface="Calibri" panose="020F0502020204030204" pitchFamily="34" charset="0"/>
                <a:ea typeface="+mn-ea"/>
              </a:rPr>
              <a:t>Seite </a:t>
            </a:r>
            <a:fld id="{E1204CC0-0FEB-41CD-9E83-448864E27807}" type="slidenum">
              <a:rPr lang="de-DE" altLang="de-DE" sz="1000">
                <a:solidFill>
                  <a:srgbClr val="FFFFFF"/>
                </a:solidFill>
                <a:latin typeface="Calibri" panose="020F0502020204030204" pitchFamily="34" charset="0"/>
                <a:ea typeface="+mn-ea"/>
              </a:rPr>
              <a:pPr eaLnBrk="1" hangingPunct="1"/>
              <a:t>‹Nr.›</a:t>
            </a:fld>
            <a:endParaRPr lang="de-DE" altLang="de-DE" sz="1000" dirty="0">
              <a:solidFill>
                <a:srgbClr val="FFFFFF"/>
              </a:solidFill>
              <a:latin typeface="Calibri" panose="020F0502020204030204" pitchFamily="34" charset="0"/>
              <a:ea typeface="+mn-ea"/>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1991627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4">
    <p:spTree>
      <p:nvGrpSpPr>
        <p:cNvPr id="1" name=""/>
        <p:cNvGrpSpPr/>
        <p:nvPr/>
      </p:nvGrpSpPr>
      <p:grpSpPr>
        <a:xfrm>
          <a:off x="0" y="0"/>
          <a:ext cx="0" cy="0"/>
          <a:chOff x="0" y="0"/>
          <a:chExt cx="0" cy="0"/>
        </a:xfrm>
      </p:grpSpPr>
      <p:sp>
        <p:nvSpPr>
          <p:cNvPr id="2"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000" dirty="0">
                <a:solidFill>
                  <a:srgbClr val="FFFFFF"/>
                </a:solidFill>
                <a:latin typeface="Calibri" panose="020F0502020204030204" pitchFamily="34" charset="0"/>
                <a:ea typeface="+mn-ea"/>
              </a:rPr>
              <a:t>Seite </a:t>
            </a:r>
            <a:fld id="{06614E39-BA79-4C01-B32D-CBCCEB770C51}" type="slidenum">
              <a:rPr lang="de-DE" altLang="de-DE" sz="1000">
                <a:solidFill>
                  <a:srgbClr val="FFFFFF"/>
                </a:solidFill>
                <a:latin typeface="Calibri" panose="020F0502020204030204" pitchFamily="34" charset="0"/>
                <a:ea typeface="+mn-ea"/>
              </a:rPr>
              <a:pPr eaLnBrk="1" hangingPunct="1"/>
              <a:t>‹Nr.›</a:t>
            </a:fld>
            <a:endParaRPr lang="de-DE" altLang="de-DE" sz="1000" dirty="0">
              <a:solidFill>
                <a:srgbClr val="FFFFFF"/>
              </a:solidFill>
              <a:latin typeface="Calibri" panose="020F0502020204030204" pitchFamily="34" charset="0"/>
              <a:ea typeface="+mn-ea"/>
            </a:endParaRPr>
          </a:p>
        </p:txBody>
      </p:sp>
    </p:spTree>
    <p:extLst>
      <p:ext uri="{BB962C8B-B14F-4D97-AF65-F5344CB8AC3E}">
        <p14:creationId xmlns:p14="http://schemas.microsoft.com/office/powerpoint/2010/main" val="26370638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5">
    <p:spTree>
      <p:nvGrpSpPr>
        <p:cNvPr id="1" name=""/>
        <p:cNvGrpSpPr/>
        <p:nvPr/>
      </p:nvGrpSpPr>
      <p:grpSpPr>
        <a:xfrm>
          <a:off x="0" y="0"/>
          <a:ext cx="0" cy="0"/>
          <a:chOff x="0" y="0"/>
          <a:chExt cx="0" cy="0"/>
        </a:xfrm>
      </p:grpSpPr>
      <p:sp>
        <p:nvSpPr>
          <p:cNvPr id="5"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000" dirty="0">
                <a:solidFill>
                  <a:srgbClr val="FFFFFF"/>
                </a:solidFill>
                <a:latin typeface="Calibri" panose="020F0502020204030204" pitchFamily="34" charset="0"/>
                <a:ea typeface="+mn-ea"/>
              </a:rPr>
              <a:t>Seite </a:t>
            </a:r>
            <a:fld id="{F0C7DB78-59B8-481A-B4F7-1416CD24E002}" type="slidenum">
              <a:rPr lang="de-DE" altLang="de-DE" sz="1000">
                <a:solidFill>
                  <a:srgbClr val="FFFFFF"/>
                </a:solidFill>
                <a:latin typeface="Calibri" panose="020F0502020204030204" pitchFamily="34" charset="0"/>
                <a:ea typeface="+mn-ea"/>
              </a:rPr>
              <a:pPr eaLnBrk="1" hangingPunct="1"/>
              <a:t>‹Nr.›</a:t>
            </a:fld>
            <a:endParaRPr lang="de-DE" altLang="de-DE" sz="1000" dirty="0">
              <a:solidFill>
                <a:srgbClr val="FFFFFF"/>
              </a:solidFill>
              <a:latin typeface="Calibri" panose="020F0502020204030204" pitchFamily="34" charset="0"/>
              <a:ea typeface="+mn-ea"/>
            </a:endParaRPr>
          </a:p>
        </p:txBody>
      </p:sp>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4407631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
    <p:spTree>
      <p:nvGrpSpPr>
        <p:cNvPr id="1" name=""/>
        <p:cNvGrpSpPr/>
        <p:nvPr/>
      </p:nvGrpSpPr>
      <p:grpSpPr>
        <a:xfrm>
          <a:off x="0" y="0"/>
          <a:ext cx="0" cy="0"/>
          <a:chOff x="0" y="0"/>
          <a:chExt cx="0" cy="0"/>
        </a:xfrm>
      </p:grpSpPr>
      <p:graphicFrame>
        <p:nvGraphicFramePr>
          <p:cNvPr id="4"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50ED3645-BA46-4C17-95BF-0D927626821A}"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lvl1pPr>
              <a:spcBef>
                <a:spcPts val="0"/>
              </a:spcBef>
              <a:defRPr sz="1800"/>
            </a:lvl1pPr>
            <a:lvl2pPr>
              <a:spcBef>
                <a:spcPts val="0"/>
              </a:spcBef>
              <a:defRPr sz="1800"/>
            </a:lvl2pPr>
            <a:lvl3pPr>
              <a:spcBef>
                <a:spcPts val="0"/>
              </a:spcBef>
              <a:defRPr sz="1800"/>
            </a:lvl3pPr>
            <a:lvl4pPr>
              <a:spcBef>
                <a:spcPts val="0"/>
              </a:spcBef>
              <a:defRPr sz="1800"/>
            </a:lvl4pPr>
            <a:lvl5pPr marL="1206000">
              <a:spcBef>
                <a:spcPts val="0"/>
              </a:spcBef>
              <a:defRPr sz="1800"/>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892902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2">
    <p:spTree>
      <p:nvGrpSpPr>
        <p:cNvPr id="1" name=""/>
        <p:cNvGrpSpPr/>
        <p:nvPr/>
      </p:nvGrpSpPr>
      <p:grpSpPr>
        <a:xfrm>
          <a:off x="0" y="0"/>
          <a:ext cx="0" cy="0"/>
          <a:chOff x="0" y="0"/>
          <a:chExt cx="0" cy="0"/>
        </a:xfrm>
      </p:grpSpPr>
      <p:graphicFrame>
        <p:nvGraphicFramePr>
          <p:cNvPr id="5"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8"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44DDF7BD-6A79-4E43-8445-C6D76348064B}"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81000" y="1828800"/>
            <a:ext cx="4114800" cy="4648200"/>
          </a:xfrm>
        </p:spPr>
        <p:txBody>
          <a:bodyPr/>
          <a:lstStyle>
            <a:lvl1pPr marL="0" indent="0">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
        <p:nvSpPr>
          <p:cNvPr id="4" name="Inhaltsplatzhalter 3"/>
          <p:cNvSpPr>
            <a:spLocks noGrp="1"/>
          </p:cNvSpPr>
          <p:nvPr>
            <p:ph sz="half" idx="2"/>
          </p:nvPr>
        </p:nvSpPr>
        <p:spPr>
          <a:xfrm>
            <a:off x="4648200" y="1828800"/>
            <a:ext cx="4114800" cy="4648200"/>
          </a:xfrm>
        </p:spPr>
        <p:txBody>
          <a:bodyPr/>
          <a:lstStyle>
            <a:lvl1pPr marL="0" indent="0">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3"/>
            <a:r>
              <a:rPr lang="de-DE" dirty="0" smtClean="0"/>
              <a:t>Fünfte Ebene</a:t>
            </a:r>
            <a:endParaRPr lang="de-DE" dirty="0"/>
          </a:p>
        </p:txBody>
      </p:sp>
    </p:spTree>
    <p:extLst>
      <p:ext uri="{BB962C8B-B14F-4D97-AF65-F5344CB8AC3E}">
        <p14:creationId xmlns:p14="http://schemas.microsoft.com/office/powerpoint/2010/main" val="2642574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
    <p:spTree>
      <p:nvGrpSpPr>
        <p:cNvPr id="1" name=""/>
        <p:cNvGrpSpPr/>
        <p:nvPr/>
      </p:nvGrpSpPr>
      <p:grpSpPr>
        <a:xfrm>
          <a:off x="0" y="0"/>
          <a:ext cx="0" cy="0"/>
          <a:chOff x="0" y="0"/>
          <a:chExt cx="0" cy="0"/>
        </a:xfrm>
      </p:grpSpPr>
      <p:sp>
        <p:nvSpPr>
          <p:cNvPr id="3"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de-DE" altLang="de-DE" sz="1000" dirty="0" smtClean="0">
                <a:solidFill>
                  <a:schemeClr val="bg1"/>
                </a:solidFill>
                <a:latin typeface="Calibri" panose="020F0502020204030204" pitchFamily="34" charset="0"/>
              </a:rPr>
              <a:t>Seite </a:t>
            </a:r>
            <a:fld id="{C8AB0642-C9E6-4E79-AD83-FD6312545C26}" type="slidenum">
              <a:rPr lang="de-DE" altLang="de-DE" sz="1000" smtClean="0">
                <a:solidFill>
                  <a:schemeClr val="bg1"/>
                </a:solidFill>
                <a:latin typeface="Calibri" panose="020F0502020204030204" pitchFamily="34" charset="0"/>
              </a:rPr>
              <a:pPr eaLnBrk="1" hangingPunct="1">
                <a:defRPr/>
              </a:pPr>
              <a:t>‹Nr.›</a:t>
            </a:fld>
            <a:endParaRPr lang="de-DE" altLang="de-DE" sz="1000" dirty="0" smtClean="0">
              <a:solidFill>
                <a:schemeClr val="bg1"/>
              </a:solidFill>
              <a:latin typeface="Calibri" panose="020F0502020204030204" pitchFamily="34" charset="0"/>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27253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3">
    <p:spTree>
      <p:nvGrpSpPr>
        <p:cNvPr id="1" name=""/>
        <p:cNvGrpSpPr/>
        <p:nvPr/>
      </p:nvGrpSpPr>
      <p:grpSpPr>
        <a:xfrm>
          <a:off x="0" y="0"/>
          <a:ext cx="0" cy="0"/>
          <a:chOff x="0" y="0"/>
          <a:chExt cx="0" cy="0"/>
        </a:xfrm>
      </p:grpSpPr>
      <p:graphicFrame>
        <p:nvGraphicFramePr>
          <p:cNvPr id="3"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2"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9811A1E0-3F55-45EE-AA86-7CDB5D18E729}"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536563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4">
    <p:spTree>
      <p:nvGrpSpPr>
        <p:cNvPr id="1" name=""/>
        <p:cNvGrpSpPr/>
        <p:nvPr/>
      </p:nvGrpSpPr>
      <p:grpSpPr>
        <a:xfrm>
          <a:off x="0" y="0"/>
          <a:ext cx="0" cy="0"/>
          <a:chOff x="0" y="0"/>
          <a:chExt cx="0" cy="0"/>
        </a:xfrm>
      </p:grpSpPr>
      <p:graphicFrame>
        <p:nvGraphicFramePr>
          <p:cNvPr id="2"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6"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5919FA32-FA75-47C4-A4A6-660D61E5297C}"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Tree>
    <p:extLst>
      <p:ext uri="{BB962C8B-B14F-4D97-AF65-F5344CB8AC3E}">
        <p14:creationId xmlns:p14="http://schemas.microsoft.com/office/powerpoint/2010/main" val="25805940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picTx" preserve="1">
  <p:cSld name="5">
    <p:spTree>
      <p:nvGrpSpPr>
        <p:cNvPr id="1" name=""/>
        <p:cNvGrpSpPr/>
        <p:nvPr/>
      </p:nvGrpSpPr>
      <p:grpSpPr>
        <a:xfrm>
          <a:off x="0" y="0"/>
          <a:ext cx="0" cy="0"/>
          <a:chOff x="0" y="0"/>
          <a:chExt cx="0" cy="0"/>
        </a:xfrm>
      </p:grpSpPr>
      <p:graphicFrame>
        <p:nvGraphicFramePr>
          <p:cNvPr id="5"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0"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AE076352-44F6-4944-8410-7C8F93895D8F}"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6199258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elfolie">
    <p:spTree>
      <p:nvGrpSpPr>
        <p:cNvPr id="1" name=""/>
        <p:cNvGrpSpPr/>
        <p:nvPr/>
      </p:nvGrpSpPr>
      <p:grpSpPr>
        <a:xfrm>
          <a:off x="0" y="0"/>
          <a:ext cx="0" cy="0"/>
          <a:chOff x="0" y="0"/>
          <a:chExt cx="0" cy="0"/>
        </a:xfrm>
      </p:grpSpPr>
      <p:graphicFrame>
        <p:nvGraphicFramePr>
          <p:cNvPr id="4"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4"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 5" descr="BST-0149 Hintergrund ohne Logo-10-10.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36D873D4-A98E-4366-A957-CB294A5FDA78}"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ctrTitle"/>
          </p:nvPr>
        </p:nvSpPr>
        <p:spPr>
          <a:xfrm>
            <a:off x="685800" y="2130425"/>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Master-Untertitelformat bearbeiten</a:t>
            </a:r>
            <a:endParaRPr lang="de-DE"/>
          </a:p>
        </p:txBody>
      </p:sp>
    </p:spTree>
    <p:extLst>
      <p:ext uri="{BB962C8B-B14F-4D97-AF65-F5344CB8AC3E}">
        <p14:creationId xmlns:p14="http://schemas.microsoft.com/office/powerpoint/2010/main" val="30686203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cSld name="7">
    <p:spTree>
      <p:nvGrpSpPr>
        <p:cNvPr id="1" name=""/>
        <p:cNvGrpSpPr/>
        <p:nvPr/>
      </p:nvGrpSpPr>
      <p:grpSpPr>
        <a:xfrm>
          <a:off x="0" y="0"/>
          <a:ext cx="0" cy="0"/>
          <a:chOff x="0" y="0"/>
          <a:chExt cx="0" cy="0"/>
        </a:xfrm>
      </p:grpSpPr>
      <p:graphicFrame>
        <p:nvGraphicFramePr>
          <p:cNvPr id="4"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8"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1DFDDEFF-8879-4B21-8895-416DAC48B5B4}"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atin typeface="Arial" pitchFamily="34" charset="0"/>
              </a:defRPr>
            </a:lvl1pPr>
          </a:lstStyle>
          <a:p>
            <a:pPr eaLnBrk="1" hangingPunct="1">
              <a:defRPr/>
            </a:pPr>
            <a:fld id="{63CD3F3D-2DE3-460A-B117-984DC6F1F4A6}" type="datetime1">
              <a:rPr lang="de-DE">
                <a:solidFill>
                  <a:srgbClr val="003264"/>
                </a:solidFill>
              </a:rPr>
              <a:pPr eaLnBrk="1" hangingPunct="1">
                <a:defRPr/>
              </a:pPr>
              <a:t>20.07.2016</a:t>
            </a:fld>
            <a:endParaRPr lang="de-DE" dirty="0">
              <a:solidFill>
                <a:srgbClr val="003264"/>
              </a:solidFill>
            </a:endParaRPr>
          </a:p>
        </p:txBody>
      </p:sp>
      <p:sp>
        <p:nvSpPr>
          <p:cNvPr id="8" name="Fußzeilenplatzhalter 4"/>
          <p:cNvSpPr>
            <a:spLocks noGrp="1"/>
          </p:cNvSpPr>
          <p:nvPr>
            <p:ph type="ftr" sz="quarter" idx="11"/>
          </p:nvPr>
        </p:nvSpPr>
        <p:spPr>
          <a:xfrm>
            <a:off x="3124200" y="6356350"/>
            <a:ext cx="2895600" cy="365125"/>
          </a:xfrm>
          <a:prstGeom prst="rect">
            <a:avLst/>
          </a:prstGeom>
        </p:spPr>
        <p:txBody>
          <a:bodyPr/>
          <a:lstStyle>
            <a:lvl1pPr>
              <a:defRPr>
                <a:latin typeface="Arial" charset="0"/>
                <a:ea typeface="MS PGothic" charset="0"/>
                <a:cs typeface="MS PGothic" charset="0"/>
              </a:defRPr>
            </a:lvl1pPr>
          </a:lstStyle>
          <a:p>
            <a:pPr eaLnBrk="1" hangingPunct="1">
              <a:defRPr/>
            </a:pPr>
            <a:endParaRPr lang="de-DE" dirty="0">
              <a:solidFill>
                <a:srgbClr val="003264"/>
              </a:solidFill>
            </a:endParaRPr>
          </a:p>
        </p:txBody>
      </p:sp>
      <p:sp>
        <p:nvSpPr>
          <p:cNvPr id="9" name="Foliennummernplatzhalt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eaLnBrk="1" hangingPunct="1"/>
            <a:fld id="{C719D95C-D2F8-4748-AEA8-280FF7040528}" type="slidenum">
              <a:rPr lang="de-DE" altLang="de-DE" smtClean="0">
                <a:solidFill>
                  <a:srgbClr val="003264"/>
                </a:solidFill>
              </a:rPr>
              <a:pPr eaLnBrk="1" hangingPunct="1"/>
              <a:t>‹Nr.›</a:t>
            </a:fld>
            <a:endParaRPr lang="de-DE" altLang="de-DE" dirty="0" smtClean="0">
              <a:solidFill>
                <a:srgbClr val="003264"/>
              </a:solidFill>
            </a:endParaRPr>
          </a:p>
        </p:txBody>
      </p:sp>
    </p:spTree>
    <p:extLst>
      <p:ext uri="{BB962C8B-B14F-4D97-AF65-F5344CB8AC3E}">
        <p14:creationId xmlns:p14="http://schemas.microsoft.com/office/powerpoint/2010/main" val="42583226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2">
    <p:spTree>
      <p:nvGrpSpPr>
        <p:cNvPr id="1" name=""/>
        <p:cNvGrpSpPr/>
        <p:nvPr/>
      </p:nvGrpSpPr>
      <p:grpSpPr>
        <a:xfrm>
          <a:off x="0" y="0"/>
          <a:ext cx="0" cy="0"/>
          <a:chOff x="0" y="0"/>
          <a:chExt cx="0" cy="0"/>
        </a:xfrm>
      </p:grpSpPr>
      <p:graphicFrame>
        <p:nvGraphicFramePr>
          <p:cNvPr id="4" name="Object 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2" name="think-cell Folie" r:id="rId4" imgW="38100" imgH="38100" progId="">
                  <p:embed/>
                </p:oleObj>
              </mc:Choice>
              <mc:Fallback>
                <p:oleObj name="think-cell Foli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 7" descr="BST-0149 Hintergrund ohne Logo-10-10.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liennummernplatzhalter 5"/>
          <p:cNvSpPr txBox="1">
            <a:spLocks/>
          </p:cNvSpPr>
          <p:nvPr/>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000" dirty="0" smtClean="0">
                <a:solidFill>
                  <a:srgbClr val="FFFFFF"/>
                </a:solidFill>
                <a:latin typeface="Calibri" panose="020F0502020204030204" pitchFamily="34" charset="0"/>
              </a:rPr>
              <a:t>Seite </a:t>
            </a:r>
            <a:fld id="{1AADF377-F64F-48C8-A2E5-B890938555B3}" type="slidenum">
              <a:rPr lang="de-DE" altLang="de-DE" sz="1000" smtClean="0">
                <a:solidFill>
                  <a:srgbClr val="FFFFFF"/>
                </a:solidFill>
                <a:latin typeface="Calibri" panose="020F0502020204030204" pitchFamily="34" charset="0"/>
              </a:rPr>
              <a:pPr eaLnBrk="1" hangingPunct="1"/>
              <a:t>‹Nr.›</a:t>
            </a:fld>
            <a:endParaRPr lang="de-DE" altLang="de-DE" sz="1000" dirty="0" smtClean="0">
              <a:solidFill>
                <a:srgbClr val="FFFFFF"/>
              </a:solidFill>
              <a:latin typeface="Calibri" panose="020F0502020204030204" pitchFamily="34" charset="0"/>
            </a:endParaRPr>
          </a:p>
        </p:txBody>
      </p:sp>
      <p:sp>
        <p:nvSpPr>
          <p:cNvPr id="2" name="Titel 1"/>
          <p:cNvSpPr>
            <a:spLocks noGrp="1"/>
          </p:cNvSpPr>
          <p:nvPr>
            <p:ph type="title"/>
          </p:nvPr>
        </p:nvSpPr>
        <p:spPr/>
        <p:txBody>
          <a:bodyPr/>
          <a:lstStyle/>
          <a:p>
            <a:r>
              <a:rPr lang="de-DE" smtClean="0"/>
              <a:t>Mastertitelformat bearbeiten</a:t>
            </a:r>
            <a:endParaRPr lang="de-DE" dirty="0"/>
          </a:p>
        </p:txBody>
      </p:sp>
      <p:sp>
        <p:nvSpPr>
          <p:cNvPr id="3" name="Inhaltsplatzhalter 2"/>
          <p:cNvSpPr>
            <a:spLocks noGrp="1"/>
          </p:cNvSpPr>
          <p:nvPr>
            <p:ph idx="1"/>
          </p:nvPr>
        </p:nvSpPr>
        <p:spPr/>
        <p:txBody>
          <a:bodyPr/>
          <a:lstStyle>
            <a:lvl1pPr>
              <a:defRPr sz="1800"/>
            </a:lvl1pPr>
            <a:lvl2pPr>
              <a:defRPr sz="1800"/>
            </a:lvl2pPr>
            <a:lvl3pPr>
              <a:defRPr sz="1800"/>
            </a:lvl3pPr>
            <a:lvl4pPr>
              <a:defRPr sz="1800"/>
            </a:lvl4pPr>
            <a:lvl5pPr marL="1206000">
              <a:defRPr sz="1800"/>
            </a:lvl5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398006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4">
    <p:spTree>
      <p:nvGrpSpPr>
        <p:cNvPr id="1" name=""/>
        <p:cNvGrpSpPr/>
        <p:nvPr/>
      </p:nvGrpSpPr>
      <p:grpSpPr>
        <a:xfrm>
          <a:off x="0" y="0"/>
          <a:ext cx="0" cy="0"/>
          <a:chOff x="0" y="0"/>
          <a:chExt cx="0" cy="0"/>
        </a:xfrm>
      </p:grpSpPr>
      <p:sp>
        <p:nvSpPr>
          <p:cNvPr id="2"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de-DE" altLang="de-DE" sz="1000" dirty="0" smtClean="0">
                <a:solidFill>
                  <a:schemeClr val="bg1"/>
                </a:solidFill>
                <a:latin typeface="Calibri" panose="020F0502020204030204" pitchFamily="34" charset="0"/>
              </a:rPr>
              <a:t>Seite </a:t>
            </a:r>
            <a:fld id="{5DD0BB68-AD30-468F-A344-4AB8D855886D}" type="slidenum">
              <a:rPr lang="de-DE" altLang="de-DE" sz="1000" smtClean="0">
                <a:solidFill>
                  <a:schemeClr val="bg1"/>
                </a:solidFill>
                <a:latin typeface="Calibri" panose="020F0502020204030204" pitchFamily="34" charset="0"/>
              </a:rPr>
              <a:pPr eaLnBrk="1" hangingPunct="1">
                <a:defRPr/>
              </a:pPr>
              <a:t>‹Nr.›</a:t>
            </a:fld>
            <a:endParaRPr lang="de-DE" altLang="de-DE" sz="1000" dirty="0" smtClean="0">
              <a:solidFill>
                <a:schemeClr val="bg1"/>
              </a:solidFill>
              <a:latin typeface="Calibri" panose="020F0502020204030204" pitchFamily="34" charset="0"/>
            </a:endParaRPr>
          </a:p>
        </p:txBody>
      </p:sp>
    </p:spTree>
    <p:extLst>
      <p:ext uri="{BB962C8B-B14F-4D97-AF65-F5344CB8AC3E}">
        <p14:creationId xmlns:p14="http://schemas.microsoft.com/office/powerpoint/2010/main" val="16078212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5">
    <p:spTree>
      <p:nvGrpSpPr>
        <p:cNvPr id="1" name=""/>
        <p:cNvGrpSpPr/>
        <p:nvPr/>
      </p:nvGrpSpPr>
      <p:grpSpPr>
        <a:xfrm>
          <a:off x="0" y="0"/>
          <a:ext cx="0" cy="0"/>
          <a:chOff x="0" y="0"/>
          <a:chExt cx="0" cy="0"/>
        </a:xfrm>
      </p:grpSpPr>
      <p:sp>
        <p:nvSpPr>
          <p:cNvPr id="5" name="Foliennummernplatzhalter 5"/>
          <p:cNvSpPr txBox="1">
            <a:spLocks/>
          </p:cNvSpPr>
          <p:nvPr userDrawn="1"/>
        </p:nvSpPr>
        <p:spPr>
          <a:xfrm>
            <a:off x="304800" y="152400"/>
            <a:ext cx="990600" cy="304800"/>
          </a:xfrm>
          <a:prstGeom prst="rect">
            <a:avLst/>
          </a:prstGeom>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de-DE" altLang="de-DE" sz="1000" dirty="0" smtClean="0">
                <a:solidFill>
                  <a:schemeClr val="bg1"/>
                </a:solidFill>
                <a:latin typeface="Calibri" panose="020F0502020204030204" pitchFamily="34" charset="0"/>
              </a:rPr>
              <a:t>Seite </a:t>
            </a:r>
            <a:fld id="{2B3B91F2-8ED9-4217-861E-BE28F655A26F}" type="slidenum">
              <a:rPr lang="de-DE" altLang="de-DE" sz="1000" smtClean="0">
                <a:solidFill>
                  <a:schemeClr val="bg1"/>
                </a:solidFill>
                <a:latin typeface="Calibri" panose="020F0502020204030204" pitchFamily="34" charset="0"/>
              </a:rPr>
              <a:pPr eaLnBrk="1" hangingPunct="1">
                <a:defRPr/>
              </a:pPr>
              <a:t>‹Nr.›</a:t>
            </a:fld>
            <a:endParaRPr lang="de-DE" altLang="de-DE" sz="1000" dirty="0" smtClean="0">
              <a:solidFill>
                <a:schemeClr val="bg1"/>
              </a:solidFill>
              <a:latin typeface="Calibri" panose="020F0502020204030204" pitchFamily="34" charset="0"/>
            </a:endParaRPr>
          </a:p>
        </p:txBody>
      </p:sp>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2883499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defRPr sz="4000"/>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578186491"/>
      </p:ext>
    </p:extLst>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1371599"/>
            <a:ext cx="5486400" cy="33559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5000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676291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4" name="Rechteck 3"/>
          <p:cNvSpPr/>
          <p:nvPr userDrawn="1"/>
        </p:nvSpPr>
        <p:spPr>
          <a:xfrm>
            <a:off x="449263" y="108902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5" name="Rechteck 4"/>
          <p:cNvSpPr/>
          <p:nvPr userDrawn="1"/>
        </p:nvSpPr>
        <p:spPr>
          <a:xfrm>
            <a:off x="449263" y="632777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2" name="Titel 1"/>
          <p:cNvSpPr>
            <a:spLocks noGrp="1"/>
          </p:cNvSpPr>
          <p:nvPr>
            <p:ph type="title"/>
          </p:nvPr>
        </p:nvSpPr>
        <p:spPr>
          <a:xfrm>
            <a:off x="539552" y="1265237"/>
            <a:ext cx="8064896" cy="795611"/>
          </a:xfrm>
          <a:solidFill>
            <a:srgbClr val="DFE6F0"/>
          </a:solidFill>
          <a:ln>
            <a:solidFill>
              <a:schemeClr val="accent1"/>
            </a:solidFill>
          </a:ln>
        </p:spPr>
        <p:txBody>
          <a:bodyPr/>
          <a:lstStyle>
            <a:lvl1pPr>
              <a:defRPr>
                <a:solidFill>
                  <a:schemeClr val="accent4"/>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539948" y="2276872"/>
            <a:ext cx="8064500" cy="3385170"/>
          </a:xfrm>
        </p:spPr>
        <p:txBody>
          <a:bodyPr/>
          <a:lstStyle>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3"/>
          <p:cNvSpPr>
            <a:spLocks noGrp="1"/>
          </p:cNvSpPr>
          <p:nvPr>
            <p:ph type="ftr" sz="quarter" idx="10"/>
          </p:nvPr>
        </p:nvSpPr>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7" name="Foliennummernplatzhalter 4"/>
          <p:cNvSpPr>
            <a:spLocks noGrp="1"/>
          </p:cNvSpPr>
          <p:nvPr>
            <p:ph type="sldNum" sz="quarter" idx="11"/>
          </p:nvPr>
        </p:nvSpPr>
        <p:spPr/>
        <p:txBody>
          <a:bodyPr/>
          <a:lstStyle>
            <a:lvl1pPr>
              <a:defRPr/>
            </a:lvl1pPr>
          </a:lstStyle>
          <a:p>
            <a:pPr>
              <a:defRPr/>
            </a:pPr>
            <a:fld id="{1D4B8A2E-7EC2-4D76-914B-1F76852B6839}" type="slidenum">
              <a:rPr lang="de-DE">
                <a:solidFill>
                  <a:srgbClr val="000000"/>
                </a:solidFill>
              </a:rPr>
              <a:pPr>
                <a:defRPr/>
              </a:pPr>
              <a:t>‹Nr.›</a:t>
            </a:fld>
            <a:endParaRPr lang="de-DE" dirty="0">
              <a:solidFill>
                <a:srgbClr val="000000"/>
              </a:solidFill>
            </a:endParaRPr>
          </a:p>
        </p:txBody>
      </p:sp>
      <p:sp>
        <p:nvSpPr>
          <p:cNvPr id="8" name="Datumsplatzhalter 5"/>
          <p:cNvSpPr>
            <a:spLocks noGrp="1"/>
          </p:cNvSpPr>
          <p:nvPr>
            <p:ph type="dt" sz="half" idx="12"/>
          </p:nvPr>
        </p:nvSpPr>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19892190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4" name="Rechteck 3"/>
          <p:cNvSpPr/>
          <p:nvPr userDrawn="1"/>
        </p:nvSpPr>
        <p:spPr>
          <a:xfrm>
            <a:off x="468313" y="108902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5" name="Rechteck 4"/>
          <p:cNvSpPr/>
          <p:nvPr userDrawn="1"/>
        </p:nvSpPr>
        <p:spPr>
          <a:xfrm>
            <a:off x="468313" y="6327775"/>
            <a:ext cx="8226425" cy="73025"/>
          </a:xfrm>
          <a:prstGeom prst="rect">
            <a:avLst/>
          </a:prstGeom>
          <a:solidFill>
            <a:srgbClr val="336699"/>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2" name="Titel 1"/>
          <p:cNvSpPr>
            <a:spLocks noGrp="1"/>
          </p:cNvSpPr>
          <p:nvPr>
            <p:ph type="title"/>
          </p:nvPr>
        </p:nvSpPr>
        <p:spPr>
          <a:xfrm>
            <a:off x="539553" y="1265237"/>
            <a:ext cx="8064896" cy="795611"/>
          </a:xfrm>
          <a:solidFill>
            <a:srgbClr val="DFE6F0"/>
          </a:solidFill>
          <a:ln>
            <a:solidFill>
              <a:schemeClr val="accent1"/>
            </a:solidFill>
          </a:ln>
        </p:spPr>
        <p:txBody>
          <a:bodyPr/>
          <a:lstStyle>
            <a:lvl1pPr>
              <a:defRPr>
                <a:solidFill>
                  <a:schemeClr val="accent4"/>
                </a:solidFill>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539750" y="2348880"/>
            <a:ext cx="8064500" cy="3385170"/>
          </a:xfrm>
        </p:spPr>
        <p:txBody>
          <a:bodyPr/>
          <a:lstStyle>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Fußzeilenplatzhalter 3"/>
          <p:cNvSpPr>
            <a:spLocks noGrp="1"/>
          </p:cNvSpPr>
          <p:nvPr>
            <p:ph type="ftr" sz="quarter" idx="10"/>
          </p:nvPr>
        </p:nvSpPr>
        <p:spPr/>
        <p:txBody>
          <a:bodyPr/>
          <a:lstStyle>
            <a:lvl1pPr>
              <a:defRPr/>
            </a:lvl1pPr>
          </a:lstStyle>
          <a:p>
            <a:pPr>
              <a:defRPr/>
            </a:pPr>
            <a:r>
              <a:rPr lang="de-DE" b="0" dirty="0" smtClean="0">
                <a:solidFill>
                  <a:srgbClr val="000000"/>
                </a:solidFill>
              </a:rPr>
              <a:t>Christoph Höfer</a:t>
            </a:r>
            <a:endParaRPr lang="de-DE" b="0" dirty="0">
              <a:solidFill>
                <a:srgbClr val="000000"/>
              </a:solidFill>
            </a:endParaRPr>
          </a:p>
        </p:txBody>
      </p:sp>
      <p:sp>
        <p:nvSpPr>
          <p:cNvPr id="7" name="Foliennummernplatzhalter 4"/>
          <p:cNvSpPr>
            <a:spLocks noGrp="1"/>
          </p:cNvSpPr>
          <p:nvPr>
            <p:ph type="sldNum" sz="quarter" idx="11"/>
          </p:nvPr>
        </p:nvSpPr>
        <p:spPr/>
        <p:txBody>
          <a:bodyPr/>
          <a:lstStyle>
            <a:lvl1pPr>
              <a:defRPr/>
            </a:lvl1pPr>
          </a:lstStyle>
          <a:p>
            <a:pPr>
              <a:defRPr/>
            </a:pPr>
            <a:fld id="{B66AD779-7ACA-4747-9D27-A14BBA59E239}" type="slidenum">
              <a:rPr lang="de-DE">
                <a:solidFill>
                  <a:srgbClr val="000000"/>
                </a:solidFill>
              </a:rPr>
              <a:pPr>
                <a:defRPr/>
              </a:pPr>
              <a:t>‹Nr.›</a:t>
            </a:fld>
            <a:endParaRPr lang="de-DE" dirty="0">
              <a:solidFill>
                <a:srgbClr val="000000"/>
              </a:solidFill>
            </a:endParaRPr>
          </a:p>
        </p:txBody>
      </p:sp>
      <p:sp>
        <p:nvSpPr>
          <p:cNvPr id="8" name="Datumsplatzhalter 5"/>
          <p:cNvSpPr>
            <a:spLocks noGrp="1"/>
          </p:cNvSpPr>
          <p:nvPr>
            <p:ph type="dt" sz="half" idx="12"/>
          </p:nvPr>
        </p:nvSpPr>
        <p:spPr/>
        <p:txBody>
          <a:bodyPr/>
          <a:lstStyle>
            <a:lvl1pPr>
              <a:defRPr/>
            </a:lvl1pPr>
          </a:lstStyle>
          <a:p>
            <a:pPr>
              <a:defRPr/>
            </a:pPr>
            <a:r>
              <a:rPr lang="de-DE" dirty="0" smtClean="0">
                <a:solidFill>
                  <a:srgbClr val="000000"/>
                </a:solidFill>
              </a:rPr>
              <a:t>Detmold, 06. Oktober 2014</a:t>
            </a:r>
            <a:endParaRPr lang="de-DE" dirty="0">
              <a:solidFill>
                <a:srgbClr val="000000"/>
              </a:solidFill>
            </a:endParaRPr>
          </a:p>
        </p:txBody>
      </p:sp>
    </p:spTree>
    <p:extLst>
      <p:ext uri="{BB962C8B-B14F-4D97-AF65-F5344CB8AC3E}">
        <p14:creationId xmlns:p14="http://schemas.microsoft.com/office/powerpoint/2010/main" val="23785122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3.jpg"/><Relationship Id="rId2" Type="http://schemas.openxmlformats.org/officeDocument/2006/relationships/slideLayout" Target="../slideLayouts/slideLayout9.xml"/><Relationship Id="rId16"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jpe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4.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5.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1.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2.xml"/><Relationship Id="rId5" Type="http://schemas.openxmlformats.org/officeDocument/2006/relationships/slideLayout" Target="../slideLayouts/slideLayout32.xml"/><Relationship Id="rId10" Type="http://schemas.openxmlformats.org/officeDocument/2006/relationships/vmlDrawing" Target="../drawings/vmlDrawing1.vml"/><Relationship Id="rId4" Type="http://schemas.openxmlformats.org/officeDocument/2006/relationships/slideLayout" Target="../slideLayouts/slideLayout31.xml"/><Relationship Id="rId9" Type="http://schemas.openxmlformats.org/officeDocument/2006/relationships/theme" Target="../theme/theme5.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Bild 7" descr="BST-0149 Hintergrund ohne Logo-10-10.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gray">
          <a:xfrm>
            <a:off x="304800" y="1066800"/>
            <a:ext cx="8382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as Titelformat zu bearbeiten</a:t>
            </a:r>
          </a:p>
        </p:txBody>
      </p:sp>
      <p:sp>
        <p:nvSpPr>
          <p:cNvPr id="1028" name="Rectangle 5"/>
          <p:cNvSpPr>
            <a:spLocks noGrp="1" noChangeArrowheads="1"/>
          </p:cNvSpPr>
          <p:nvPr>
            <p:ph type="body" idx="1"/>
          </p:nvPr>
        </p:nvSpPr>
        <p:spPr bwMode="gray">
          <a:xfrm>
            <a:off x="304800" y="1905000"/>
            <a:ext cx="84582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ie Formate des Vorlagentextes zu bearbeiten</a:t>
            </a:r>
          </a:p>
          <a:p>
            <a:pPr lvl="1"/>
            <a:r>
              <a:rPr lang="de-DE" altLang="de-DE" smtClean="0"/>
              <a:t>Zweite Ebene</a:t>
            </a:r>
          </a:p>
          <a:p>
            <a:pPr lvl="2"/>
            <a:r>
              <a:rPr lang="de-DE" altLang="de-DE" smtClean="0"/>
              <a:t>Dritte Ebene</a:t>
            </a:r>
          </a:p>
          <a:p>
            <a:pPr lvl="3"/>
            <a:r>
              <a:rPr lang="de-DE" altLang="de-DE" smtClean="0"/>
              <a:t>Vierte Ebene</a:t>
            </a:r>
          </a:p>
        </p:txBody>
      </p:sp>
    </p:spTree>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Lst>
  <p:hf hdr="0"/>
  <p:txStyles>
    <p:titleStyle>
      <a:lvl1pPr algn="l" rtl="0" eaLnBrk="0" fontAlgn="base" hangingPunct="0">
        <a:spcBef>
          <a:spcPct val="0"/>
        </a:spcBef>
        <a:spcAft>
          <a:spcPct val="0"/>
        </a:spcAft>
        <a:defRPr sz="2300" b="1">
          <a:solidFill>
            <a:schemeClr val="hlink"/>
          </a:solidFill>
          <a:latin typeface="Calibri"/>
          <a:ea typeface="MS PGothic" panose="020B0600070205080204" pitchFamily="34" charset="-128"/>
          <a:cs typeface="Calibri"/>
        </a:defRPr>
      </a:lvl1pPr>
      <a:lvl2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2pPr>
      <a:lvl3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3pPr>
      <a:lvl4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4pPr>
      <a:lvl5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p:titleStyle>
    <p:bodyStyle>
      <a:lvl1pPr marL="190500" indent="-190500" algn="l" rtl="0" eaLnBrk="0" fontAlgn="base" hangingPunct="0">
        <a:spcBef>
          <a:spcPct val="0"/>
        </a:spcBef>
        <a:spcAft>
          <a:spcPts val="900"/>
        </a:spcAft>
        <a:buClr>
          <a:schemeClr val="hlink"/>
        </a:buClr>
        <a:defRPr>
          <a:solidFill>
            <a:srgbClr val="003264"/>
          </a:solidFill>
          <a:latin typeface="Calibri"/>
          <a:ea typeface="MS PGothic" panose="020B0600070205080204" pitchFamily="34" charset="-128"/>
          <a:cs typeface="Calibri"/>
        </a:defRPr>
      </a:lvl1pPr>
      <a:lvl2pPr marL="179388" indent="-179388" algn="l" rtl="0" eaLnBrk="0" fontAlgn="base" hangingPunct="0">
        <a:spcBef>
          <a:spcPct val="0"/>
        </a:spcBef>
        <a:spcAft>
          <a:spcPts val="900"/>
        </a:spcAft>
        <a:buClr>
          <a:srgbClr val="003264"/>
        </a:buClr>
        <a:buFont typeface="Arial" panose="020B0604020202020204" pitchFamily="34" charset="0"/>
        <a:buChar char="•"/>
        <a:defRPr>
          <a:solidFill>
            <a:srgbClr val="003264"/>
          </a:solidFill>
          <a:latin typeface="Calibri"/>
          <a:ea typeface="MS PGothic" panose="020B0600070205080204" pitchFamily="34" charset="-128"/>
          <a:cs typeface="Calibri"/>
        </a:defRPr>
      </a:lvl2pPr>
      <a:lvl3pPr marL="381000" indent="-176213" algn="l" rtl="0" eaLnBrk="0" fontAlgn="base" hangingPunct="0">
        <a:spcBef>
          <a:spcPct val="0"/>
        </a:spcBef>
        <a:spcAft>
          <a:spcPts val="900"/>
        </a:spcAft>
        <a:buSzPct val="75000"/>
        <a:buFont typeface="Wingdings" panose="05000000000000000000" pitchFamily="2" charset="2"/>
        <a:buChar char="§"/>
        <a:defRPr>
          <a:solidFill>
            <a:srgbClr val="003264"/>
          </a:solidFill>
          <a:latin typeface="Calibri"/>
          <a:ea typeface="MS PGothic" panose="020B0600070205080204" pitchFamily="34" charset="-128"/>
          <a:cs typeface="Calibri"/>
        </a:defRPr>
      </a:lvl3pPr>
      <a:lvl4pPr marL="1600200" indent="-1150938" algn="l" rtl="0" eaLnBrk="0" fontAlgn="base" hangingPunct="0">
        <a:spcBef>
          <a:spcPct val="0"/>
        </a:spcBef>
        <a:spcAft>
          <a:spcPts val="900"/>
        </a:spcAft>
        <a:buSzPct val="75000"/>
        <a:buFont typeface="Wingdings" panose="05000000000000000000" pitchFamily="2" charset="2"/>
        <a:defRPr>
          <a:solidFill>
            <a:srgbClr val="003264"/>
          </a:solidFill>
          <a:latin typeface="Calibri"/>
          <a:ea typeface="MS PGothic" panose="020B0600070205080204" pitchFamily="34" charset="-128"/>
          <a:cs typeface="Calibri"/>
        </a:defRPr>
      </a:lvl4pPr>
      <a:lvl5pPr marL="2284413" indent="-455613" algn="l" rtl="0" eaLnBrk="0" fontAlgn="base" hangingPunct="0">
        <a:spcBef>
          <a:spcPct val="0"/>
        </a:spcBef>
        <a:spcAft>
          <a:spcPts val="900"/>
        </a:spcAft>
        <a:defRPr>
          <a:solidFill>
            <a:schemeClr val="tx1"/>
          </a:solidFill>
          <a:latin typeface="+mn-lt"/>
          <a:ea typeface="MS PGothic" panose="020B0600070205080204" pitchFamily="34" charset="-128"/>
        </a:defRPr>
      </a:lvl5pPr>
      <a:lvl6pPr marL="2741613" algn="l" rtl="0" eaLnBrk="0" fontAlgn="base" hangingPunct="0">
        <a:spcBef>
          <a:spcPct val="0"/>
        </a:spcBef>
        <a:spcAft>
          <a:spcPts val="900"/>
        </a:spcAft>
        <a:defRPr>
          <a:solidFill>
            <a:schemeClr val="tx1"/>
          </a:solidFill>
          <a:latin typeface="+mn-lt"/>
        </a:defRPr>
      </a:lvl6pPr>
      <a:lvl7pPr marL="3198813" algn="l" rtl="0" eaLnBrk="0" fontAlgn="base" hangingPunct="0">
        <a:spcBef>
          <a:spcPct val="0"/>
        </a:spcBef>
        <a:spcAft>
          <a:spcPts val="900"/>
        </a:spcAft>
        <a:defRPr>
          <a:solidFill>
            <a:schemeClr val="tx1"/>
          </a:solidFill>
          <a:latin typeface="+mn-lt"/>
        </a:defRPr>
      </a:lvl7pPr>
      <a:lvl8pPr marL="3656013" algn="l" rtl="0" eaLnBrk="0" fontAlgn="base" hangingPunct="0">
        <a:spcBef>
          <a:spcPct val="0"/>
        </a:spcBef>
        <a:spcAft>
          <a:spcPts val="900"/>
        </a:spcAft>
        <a:defRPr>
          <a:solidFill>
            <a:schemeClr val="tx1"/>
          </a:solidFill>
          <a:latin typeface="+mn-lt"/>
        </a:defRPr>
      </a:lvl8pPr>
      <a:lvl9pPr marL="4113213" algn="l" rtl="0" eaLnBrk="0" fontAlgn="base" hangingPunct="0">
        <a:spcBef>
          <a:spcPct val="0"/>
        </a:spcBef>
        <a:spcAft>
          <a:spcPts val="900"/>
        </a:spcAft>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Bild 5" descr="BST-0149 Hintergrund-03.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228600" y="1828800"/>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 durch Klicken bearbeiten</a:t>
            </a:r>
          </a:p>
        </p:txBody>
      </p:sp>
      <p:sp>
        <p:nvSpPr>
          <p:cNvPr id="2052" name="Rectangle 3"/>
          <p:cNvSpPr>
            <a:spLocks noGrp="1" noChangeArrowheads="1"/>
          </p:cNvSpPr>
          <p:nvPr>
            <p:ph type="body" idx="1"/>
          </p:nvPr>
        </p:nvSpPr>
        <p:spPr bwMode="auto">
          <a:xfrm>
            <a:off x="304800" y="3398838"/>
            <a:ext cx="8229600" cy="246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extmasterformate durch Klicken bearbeiten</a:t>
            </a:r>
          </a:p>
          <a:p>
            <a:pPr lvl="1"/>
            <a:r>
              <a:rPr lang="de-DE" altLang="de-DE" smtClean="0"/>
              <a:t>Zweite Ebene</a:t>
            </a:r>
          </a:p>
          <a:p>
            <a:pPr lvl="2"/>
            <a:r>
              <a:rPr lang="de-DE" altLang="de-DE" smtClean="0"/>
              <a:t>Dritte Ebene</a:t>
            </a:r>
          </a:p>
          <a:p>
            <a:pPr lvl="3"/>
            <a:r>
              <a:rPr lang="de-DE" altLang="de-DE" smtClean="0"/>
              <a:t>Vierte Ebene</a:t>
            </a:r>
          </a:p>
          <a:p>
            <a:pPr lvl="4"/>
            <a:r>
              <a:rPr lang="de-DE" altLang="de-DE" smtClean="0"/>
              <a:t>Fünfte Ebene</a:t>
            </a:r>
          </a:p>
        </p:txBody>
      </p:sp>
    </p:spTree>
  </p:cSld>
  <p:clrMap bg1="lt1" tx1="dk1" bg2="lt2" tx2="dk2" accent1="accent1" accent2="accent2" accent3="accent3" accent4="accent4" accent5="accent5" accent6="accent6" hlink="hlink" folHlink="folHlink"/>
  <p:sldLayoutIdLst>
    <p:sldLayoutId id="2147483818" r:id="rId1"/>
    <p:sldLayoutId id="2147483819" r:id="rId2"/>
  </p:sldLayoutIdLst>
  <p:hf hdr="0" ftr="0"/>
  <p:txStyles>
    <p:titleStyle>
      <a:lvl1pPr algn="l" rtl="0" eaLnBrk="0" fontAlgn="base" hangingPunct="0">
        <a:lnSpc>
          <a:spcPts val="6000"/>
        </a:lnSpc>
        <a:spcBef>
          <a:spcPct val="0"/>
        </a:spcBef>
        <a:spcAft>
          <a:spcPct val="0"/>
        </a:spcAft>
        <a:defRPr sz="4000" b="1">
          <a:solidFill>
            <a:srgbClr val="003264"/>
          </a:solidFill>
          <a:latin typeface="Calibri"/>
          <a:ea typeface="MS PGothic" panose="020B0600070205080204" pitchFamily="34" charset="-128"/>
          <a:cs typeface="Calibri"/>
        </a:defRPr>
      </a:lvl1pPr>
      <a:lvl2pPr algn="l" rtl="0" eaLnBrk="0" fontAlgn="base" hangingPunct="0">
        <a:lnSpc>
          <a:spcPts val="6000"/>
        </a:lnSpc>
        <a:spcBef>
          <a:spcPct val="0"/>
        </a:spcBef>
        <a:spcAft>
          <a:spcPct val="0"/>
        </a:spcAft>
        <a:defRPr sz="4000" b="1">
          <a:solidFill>
            <a:srgbClr val="003264"/>
          </a:solidFill>
          <a:latin typeface="Calibri" charset="0"/>
          <a:ea typeface="MS PGothic" panose="020B0600070205080204" pitchFamily="34" charset="-128"/>
          <a:cs typeface="Calibri" panose="020F0502020204030204" pitchFamily="34" charset="0"/>
        </a:defRPr>
      </a:lvl2pPr>
      <a:lvl3pPr algn="l" rtl="0" eaLnBrk="0" fontAlgn="base" hangingPunct="0">
        <a:lnSpc>
          <a:spcPts val="6000"/>
        </a:lnSpc>
        <a:spcBef>
          <a:spcPct val="0"/>
        </a:spcBef>
        <a:spcAft>
          <a:spcPct val="0"/>
        </a:spcAft>
        <a:defRPr sz="4000" b="1">
          <a:solidFill>
            <a:srgbClr val="003264"/>
          </a:solidFill>
          <a:latin typeface="Calibri" charset="0"/>
          <a:ea typeface="MS PGothic" panose="020B0600070205080204" pitchFamily="34" charset="-128"/>
          <a:cs typeface="Calibri" panose="020F0502020204030204" pitchFamily="34" charset="0"/>
        </a:defRPr>
      </a:lvl3pPr>
      <a:lvl4pPr algn="l" rtl="0" eaLnBrk="0" fontAlgn="base" hangingPunct="0">
        <a:lnSpc>
          <a:spcPts val="6000"/>
        </a:lnSpc>
        <a:spcBef>
          <a:spcPct val="0"/>
        </a:spcBef>
        <a:spcAft>
          <a:spcPct val="0"/>
        </a:spcAft>
        <a:defRPr sz="4000" b="1">
          <a:solidFill>
            <a:srgbClr val="003264"/>
          </a:solidFill>
          <a:latin typeface="Calibri" charset="0"/>
          <a:ea typeface="MS PGothic" panose="020B0600070205080204" pitchFamily="34" charset="-128"/>
          <a:cs typeface="Calibri" panose="020F0502020204030204" pitchFamily="34" charset="0"/>
        </a:defRPr>
      </a:lvl4pPr>
      <a:lvl5pPr algn="l" rtl="0" eaLnBrk="0" fontAlgn="base" hangingPunct="0">
        <a:lnSpc>
          <a:spcPts val="6000"/>
        </a:lnSpc>
        <a:spcBef>
          <a:spcPct val="0"/>
        </a:spcBef>
        <a:spcAft>
          <a:spcPct val="0"/>
        </a:spcAft>
        <a:defRPr sz="4000" b="1">
          <a:solidFill>
            <a:srgbClr val="003264"/>
          </a:solidFill>
          <a:latin typeface="Calibri" charset="0"/>
          <a:ea typeface="MS PGothic" panose="020B0600070205080204" pitchFamily="34" charset="-128"/>
          <a:cs typeface="Calibri" panose="020F0502020204030204"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defRPr sz="3200" b="1">
          <a:solidFill>
            <a:srgbClr val="003264"/>
          </a:solidFill>
          <a:latin typeface="Calibri"/>
          <a:ea typeface="MS PGothic" panose="020B0600070205080204" pitchFamily="34" charset="-128"/>
          <a:cs typeface="Calibri"/>
        </a:defRPr>
      </a:lvl1pPr>
      <a:lvl2pPr marL="742950" indent="-285750" algn="l" rtl="0" eaLnBrk="0" fontAlgn="base" hangingPunct="0">
        <a:spcBef>
          <a:spcPct val="20000"/>
        </a:spcBef>
        <a:spcAft>
          <a:spcPct val="0"/>
        </a:spcAft>
        <a:buFont typeface="Arial" panose="020B0604020202020204" pitchFamily="34" charset="0"/>
        <a:buChar char="•"/>
        <a:defRPr sz="2800" b="1">
          <a:solidFill>
            <a:srgbClr val="003264"/>
          </a:solidFill>
          <a:latin typeface="Calibri"/>
          <a:ea typeface="MS PGothic" panose="020B0600070205080204" pitchFamily="34" charset="-128"/>
          <a:cs typeface="Calibri"/>
        </a:defRPr>
      </a:lvl2pPr>
      <a:lvl3pPr marL="1143000" indent="-228600" algn="l" rtl="0" eaLnBrk="0" fontAlgn="base" hangingPunct="0">
        <a:spcBef>
          <a:spcPct val="20000"/>
        </a:spcBef>
        <a:spcAft>
          <a:spcPct val="0"/>
        </a:spcAft>
        <a:buFont typeface="Wingdings" panose="05000000000000000000" pitchFamily="2" charset="2"/>
        <a:buChar char="§"/>
        <a:defRPr sz="2400" b="1">
          <a:solidFill>
            <a:srgbClr val="003264"/>
          </a:solidFill>
          <a:latin typeface="Calibri"/>
          <a:ea typeface="MS PGothic" panose="020B0600070205080204" pitchFamily="34" charset="-128"/>
          <a:cs typeface="Calibri"/>
        </a:defRPr>
      </a:lvl3pPr>
      <a:lvl4pPr marL="1600200" indent="-228600" algn="l" rtl="0" eaLnBrk="0" fontAlgn="base" hangingPunct="0">
        <a:spcBef>
          <a:spcPct val="20000"/>
        </a:spcBef>
        <a:spcAft>
          <a:spcPct val="0"/>
        </a:spcAft>
        <a:buChar char="–"/>
        <a:defRPr sz="2000" b="1">
          <a:solidFill>
            <a:srgbClr val="003264"/>
          </a:solidFill>
          <a:latin typeface="Calibri"/>
          <a:ea typeface="MS PGothic" panose="020B0600070205080204" pitchFamily="34" charset="-128"/>
          <a:cs typeface="Calibri"/>
        </a:defRPr>
      </a:lvl4pPr>
      <a:lvl5pPr marL="2057400" indent="-228600" algn="l" rtl="0" eaLnBrk="0" fontAlgn="base" hangingPunct="0">
        <a:spcBef>
          <a:spcPct val="20000"/>
        </a:spcBef>
        <a:spcAft>
          <a:spcPct val="0"/>
        </a:spcAft>
        <a:buChar char="»"/>
        <a:defRPr sz="2000" b="1">
          <a:solidFill>
            <a:srgbClr val="003264"/>
          </a:solidFill>
          <a:latin typeface="Calibri"/>
          <a:ea typeface="MS PGothic" panose="020B0600070205080204" pitchFamily="34" charset="-128"/>
          <a:cs typeface="Calibri"/>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4"/>
          <p:cNvSpPr>
            <a:spLocks noChangeArrowheads="1"/>
          </p:cNvSpPr>
          <p:nvPr/>
        </p:nvSpPr>
        <p:spPr bwMode="auto">
          <a:xfrm>
            <a:off x="0" y="1268413"/>
            <a:ext cx="9144000" cy="5040312"/>
          </a:xfrm>
          <a:prstGeom prst="rect">
            <a:avLst/>
          </a:prstGeom>
          <a:solidFill>
            <a:srgbClr val="DFE6F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de-DE" sz="1800" dirty="0">
              <a:solidFill>
                <a:srgbClr val="000000"/>
              </a:solidFill>
              <a:ea typeface="+mn-ea"/>
            </a:endParaRPr>
          </a:p>
        </p:txBody>
      </p:sp>
      <p:sp>
        <p:nvSpPr>
          <p:cNvPr id="1027" name="Rectangle 2"/>
          <p:cNvSpPr>
            <a:spLocks noGrp="1" noChangeArrowheads="1"/>
          </p:cNvSpPr>
          <p:nvPr>
            <p:ph type="title"/>
          </p:nvPr>
        </p:nvSpPr>
        <p:spPr bwMode="auto">
          <a:xfrm>
            <a:off x="546100" y="1268413"/>
            <a:ext cx="806450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smtClean="0"/>
              <a:t>Titelmasterfrmat durc Klicken bearbeiten</a:t>
            </a:r>
          </a:p>
        </p:txBody>
      </p:sp>
      <p:sp>
        <p:nvSpPr>
          <p:cNvPr id="1028" name="Rectangle 3"/>
          <p:cNvSpPr>
            <a:spLocks noGrp="1" noChangeArrowheads="1"/>
          </p:cNvSpPr>
          <p:nvPr>
            <p:ph type="body" idx="1"/>
          </p:nvPr>
        </p:nvSpPr>
        <p:spPr bwMode="auto">
          <a:xfrm>
            <a:off x="539750" y="2276475"/>
            <a:ext cx="8064500" cy="345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p:txBody>
      </p:sp>
      <p:sp>
        <p:nvSpPr>
          <p:cNvPr id="1031" name="Rectangle 7"/>
          <p:cNvSpPr>
            <a:spLocks noGrp="1" noChangeArrowheads="1"/>
          </p:cNvSpPr>
          <p:nvPr>
            <p:ph type="ftr" sz="quarter" idx="3"/>
          </p:nvPr>
        </p:nvSpPr>
        <p:spPr bwMode="auto">
          <a:xfrm>
            <a:off x="900113" y="6453188"/>
            <a:ext cx="1584325"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800" b="1"/>
            </a:lvl1pPr>
          </a:lstStyle>
          <a:p>
            <a:pPr eaLnBrk="1" hangingPunct="1">
              <a:defRPr/>
            </a:pPr>
            <a:r>
              <a:rPr lang="de-DE" b="0" dirty="0" smtClean="0">
                <a:solidFill>
                  <a:srgbClr val="000000"/>
                </a:solidFill>
                <a:ea typeface="+mn-ea"/>
              </a:rPr>
              <a:t>Christoph Höfer</a:t>
            </a:r>
            <a:endParaRPr lang="de-DE" b="0" dirty="0">
              <a:solidFill>
                <a:srgbClr val="000000"/>
              </a:solidFill>
              <a:ea typeface="+mn-ea"/>
            </a:endParaRPr>
          </a:p>
        </p:txBody>
      </p:sp>
      <p:sp>
        <p:nvSpPr>
          <p:cNvPr id="1032" name="Rectangle 8"/>
          <p:cNvSpPr>
            <a:spLocks noGrp="1" noChangeArrowheads="1"/>
          </p:cNvSpPr>
          <p:nvPr>
            <p:ph type="sldNum" sz="quarter" idx="4"/>
          </p:nvPr>
        </p:nvSpPr>
        <p:spPr bwMode="auto">
          <a:xfrm>
            <a:off x="539750" y="6453188"/>
            <a:ext cx="288925"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800"/>
            </a:lvl1pPr>
          </a:lstStyle>
          <a:p>
            <a:pPr eaLnBrk="1" hangingPunct="1">
              <a:defRPr/>
            </a:pPr>
            <a:fld id="{D9403CC2-10B1-433A-A2F1-DD9B1801AFDB}" type="slidenum">
              <a:rPr lang="de-DE">
                <a:solidFill>
                  <a:srgbClr val="000000"/>
                </a:solidFill>
                <a:ea typeface="+mn-ea"/>
              </a:rPr>
              <a:pPr eaLnBrk="1" hangingPunct="1">
                <a:defRPr/>
              </a:pPr>
              <a:t>‹Nr.›</a:t>
            </a:fld>
            <a:endParaRPr lang="de-DE" dirty="0">
              <a:solidFill>
                <a:srgbClr val="000000"/>
              </a:solidFill>
              <a:ea typeface="+mn-ea"/>
            </a:endParaRPr>
          </a:p>
        </p:txBody>
      </p:sp>
      <p:sp>
        <p:nvSpPr>
          <p:cNvPr id="1037" name="Rectangle 13"/>
          <p:cNvSpPr>
            <a:spLocks noGrp="1" noChangeArrowheads="1"/>
          </p:cNvSpPr>
          <p:nvPr>
            <p:ph type="dt" sz="half" idx="2"/>
          </p:nvPr>
        </p:nvSpPr>
        <p:spPr bwMode="auto">
          <a:xfrm>
            <a:off x="2484438" y="6453188"/>
            <a:ext cx="2133600" cy="404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sz="800"/>
            </a:lvl1pPr>
          </a:lstStyle>
          <a:p>
            <a:pPr eaLnBrk="1" hangingPunct="1">
              <a:defRPr/>
            </a:pPr>
            <a:r>
              <a:rPr lang="de-DE" dirty="0" smtClean="0">
                <a:solidFill>
                  <a:srgbClr val="000000"/>
                </a:solidFill>
                <a:ea typeface="+mn-ea"/>
              </a:rPr>
              <a:t>Detmold, 06. Oktober 2014</a:t>
            </a:r>
            <a:endParaRPr lang="de-DE" dirty="0">
              <a:solidFill>
                <a:srgbClr val="000000"/>
              </a:solidFill>
              <a:ea typeface="+mn-ea"/>
            </a:endParaRPr>
          </a:p>
        </p:txBody>
      </p:sp>
      <p:sp>
        <p:nvSpPr>
          <p:cNvPr id="11" name="Rechteck 10"/>
          <p:cNvSpPr/>
          <p:nvPr/>
        </p:nvSpPr>
        <p:spPr>
          <a:xfrm rot="5400000">
            <a:off x="-118268" y="1485106"/>
            <a:ext cx="1223962"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12" name="Rechteck 11"/>
          <p:cNvSpPr/>
          <p:nvPr/>
        </p:nvSpPr>
        <p:spPr>
          <a:xfrm>
            <a:off x="539750" y="2060575"/>
            <a:ext cx="8064500"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sp>
        <p:nvSpPr>
          <p:cNvPr id="13" name="Rechteck 12"/>
          <p:cNvSpPr/>
          <p:nvPr/>
        </p:nvSpPr>
        <p:spPr>
          <a:xfrm rot="5400000">
            <a:off x="8035132" y="1485106"/>
            <a:ext cx="1223962" cy="73025"/>
          </a:xfrm>
          <a:prstGeom prst="rect">
            <a:avLst/>
          </a:prstGeom>
          <a:solidFill>
            <a:schemeClr val="bg1"/>
          </a:solidFill>
          <a:ln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sz="1800" dirty="0">
              <a:solidFill>
                <a:srgbClr val="FFFFFF"/>
              </a:solidFill>
            </a:endParaRPr>
          </a:p>
        </p:txBody>
      </p:sp>
      <p:pic>
        <p:nvPicPr>
          <p:cNvPr id="4" name="Grafik 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695401" y="296728"/>
            <a:ext cx="1915199" cy="684000"/>
          </a:xfrm>
          <a:prstGeom prst="rect">
            <a:avLst/>
          </a:prstGeom>
        </p:spPr>
      </p:pic>
    </p:spTree>
    <p:extLst>
      <p:ext uri="{BB962C8B-B14F-4D97-AF65-F5344CB8AC3E}">
        <p14:creationId xmlns:p14="http://schemas.microsoft.com/office/powerpoint/2010/main" val="4200362703"/>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Lst>
  <p:timing>
    <p:tnLst>
      <p:par>
        <p:cTn id="1" dur="indefinite" restart="never" nodeType="tmRoot"/>
      </p:par>
    </p:tnLst>
  </p:timing>
  <p:hf hdr="0"/>
  <p:txStyles>
    <p:titleStyle>
      <a:lvl1pPr algn="l" rtl="0" eaLnBrk="1" fontAlgn="base" hangingPunct="1">
        <a:spcBef>
          <a:spcPct val="0"/>
        </a:spcBef>
        <a:spcAft>
          <a:spcPct val="0"/>
        </a:spcAft>
        <a:defRPr sz="2000" b="1">
          <a:solidFill>
            <a:srgbClr val="FFFFFF"/>
          </a:solidFill>
          <a:latin typeface="+mj-lt"/>
          <a:ea typeface="+mj-ea"/>
          <a:cs typeface="+mj-cs"/>
        </a:defRPr>
      </a:lvl1pPr>
      <a:lvl2pPr algn="l" rtl="0" eaLnBrk="1" fontAlgn="base" hangingPunct="1">
        <a:spcBef>
          <a:spcPct val="0"/>
        </a:spcBef>
        <a:spcAft>
          <a:spcPct val="0"/>
        </a:spcAft>
        <a:defRPr sz="2000" b="1">
          <a:solidFill>
            <a:srgbClr val="FFFFFF"/>
          </a:solidFill>
          <a:latin typeface="Arial-BoldMT" charset="0"/>
        </a:defRPr>
      </a:lvl2pPr>
      <a:lvl3pPr algn="l" rtl="0" eaLnBrk="1" fontAlgn="base" hangingPunct="1">
        <a:spcBef>
          <a:spcPct val="0"/>
        </a:spcBef>
        <a:spcAft>
          <a:spcPct val="0"/>
        </a:spcAft>
        <a:defRPr sz="2000" b="1">
          <a:solidFill>
            <a:srgbClr val="FFFFFF"/>
          </a:solidFill>
          <a:latin typeface="Arial-BoldMT" charset="0"/>
        </a:defRPr>
      </a:lvl3pPr>
      <a:lvl4pPr algn="l" rtl="0" eaLnBrk="1" fontAlgn="base" hangingPunct="1">
        <a:spcBef>
          <a:spcPct val="0"/>
        </a:spcBef>
        <a:spcAft>
          <a:spcPct val="0"/>
        </a:spcAft>
        <a:defRPr sz="2000" b="1">
          <a:solidFill>
            <a:srgbClr val="FFFFFF"/>
          </a:solidFill>
          <a:latin typeface="Arial-BoldMT" charset="0"/>
        </a:defRPr>
      </a:lvl4pPr>
      <a:lvl5pPr algn="l" rtl="0" eaLnBrk="1" fontAlgn="base" hangingPunct="1">
        <a:spcBef>
          <a:spcPct val="0"/>
        </a:spcBef>
        <a:spcAft>
          <a:spcPct val="0"/>
        </a:spcAft>
        <a:defRPr sz="2000" b="1">
          <a:solidFill>
            <a:srgbClr val="FFFFFF"/>
          </a:solidFill>
          <a:latin typeface="Arial-BoldMT" charset="0"/>
        </a:defRPr>
      </a:lvl5pPr>
      <a:lvl6pPr marL="457200" algn="l" rtl="0" eaLnBrk="1" fontAlgn="base" hangingPunct="1">
        <a:spcBef>
          <a:spcPct val="0"/>
        </a:spcBef>
        <a:spcAft>
          <a:spcPct val="0"/>
        </a:spcAft>
        <a:defRPr sz="2000" b="1">
          <a:solidFill>
            <a:schemeClr val="tx2"/>
          </a:solidFill>
          <a:latin typeface="Arial-BoldMT" charset="0"/>
        </a:defRPr>
      </a:lvl6pPr>
      <a:lvl7pPr marL="914400" algn="l" rtl="0" eaLnBrk="1" fontAlgn="base" hangingPunct="1">
        <a:spcBef>
          <a:spcPct val="0"/>
        </a:spcBef>
        <a:spcAft>
          <a:spcPct val="0"/>
        </a:spcAft>
        <a:defRPr sz="2000" b="1">
          <a:solidFill>
            <a:schemeClr val="tx2"/>
          </a:solidFill>
          <a:latin typeface="Arial-BoldMT" charset="0"/>
        </a:defRPr>
      </a:lvl7pPr>
      <a:lvl8pPr marL="1371600" algn="l" rtl="0" eaLnBrk="1" fontAlgn="base" hangingPunct="1">
        <a:spcBef>
          <a:spcPct val="0"/>
        </a:spcBef>
        <a:spcAft>
          <a:spcPct val="0"/>
        </a:spcAft>
        <a:defRPr sz="2000" b="1">
          <a:solidFill>
            <a:schemeClr val="tx2"/>
          </a:solidFill>
          <a:latin typeface="Arial-BoldMT" charset="0"/>
        </a:defRPr>
      </a:lvl8pPr>
      <a:lvl9pPr marL="1828800" algn="l" rtl="0" eaLnBrk="1" fontAlgn="base" hangingPunct="1">
        <a:spcBef>
          <a:spcPct val="0"/>
        </a:spcBef>
        <a:spcAft>
          <a:spcPct val="0"/>
        </a:spcAft>
        <a:defRPr sz="2000" b="1">
          <a:solidFill>
            <a:schemeClr val="tx2"/>
          </a:solidFill>
          <a:latin typeface="Arial-BoldMT" charset="0"/>
        </a:defRPr>
      </a:lvl9pPr>
    </p:titleStyle>
    <p:bodyStyle>
      <a:lvl1pPr marL="342900" indent="-342900" algn="l" rtl="0" eaLnBrk="1" fontAlgn="base" hangingPunct="1">
        <a:spcBef>
          <a:spcPct val="20000"/>
        </a:spcBef>
        <a:spcAft>
          <a:spcPct val="0"/>
        </a:spcAft>
        <a:buFont typeface="Arial-BoldMT" charset="0"/>
        <a:buChar char="-"/>
        <a:defRPr sz="1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600">
          <a:solidFill>
            <a:schemeClr val="tx1"/>
          </a:solidFill>
          <a:latin typeface="+mn-lt"/>
        </a:defRPr>
      </a:lvl2pPr>
      <a:lvl3pPr marL="1143000" indent="-228600" algn="l" rtl="0" eaLnBrk="1" fontAlgn="base" hangingPunct="1">
        <a:spcBef>
          <a:spcPct val="20000"/>
        </a:spcBef>
        <a:spcAft>
          <a:spcPct val="0"/>
        </a:spcAft>
        <a:buFont typeface="Wingdings" pitchFamily="2" charset="2"/>
        <a:buChar char="§"/>
        <a:defRPr sz="1400">
          <a:solidFill>
            <a:schemeClr val="tx1"/>
          </a:solidFill>
          <a:latin typeface="Arial" pitchFamily="34" charset="0"/>
        </a:defRPr>
      </a:lvl3pPr>
      <a:lvl4pPr marL="1600200" indent="-228600" algn="l" rtl="0" eaLnBrk="1" fontAlgn="base" hangingPunct="1">
        <a:spcBef>
          <a:spcPct val="20000"/>
        </a:spcBef>
        <a:spcAft>
          <a:spcPct val="0"/>
        </a:spcAft>
        <a:buChar char="–"/>
        <a:defRPr sz="2000">
          <a:solidFill>
            <a:schemeClr val="tx1"/>
          </a:solidFill>
          <a:latin typeface="Arial" pitchFamily="34" charset="0"/>
        </a:defRPr>
      </a:lvl4pPr>
      <a:lvl5pPr marL="2057400" indent="-228600" algn="l" rtl="0" eaLnBrk="1" fontAlgn="base" hangingPunct="1">
        <a:spcBef>
          <a:spcPct val="20000"/>
        </a:spcBef>
        <a:spcAft>
          <a:spcPct val="0"/>
        </a:spcAft>
        <a:buChar char="»"/>
        <a:defRPr sz="2000">
          <a:solidFill>
            <a:schemeClr val="tx1"/>
          </a:solidFill>
          <a:latin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Arial" pitchFamily="34" charset="0"/>
        </a:defRPr>
      </a:lvl6pPr>
      <a:lvl7pPr marL="2971800" indent="-228600" algn="l" rtl="0" eaLnBrk="1" fontAlgn="base" hangingPunct="1">
        <a:spcBef>
          <a:spcPct val="20000"/>
        </a:spcBef>
        <a:spcAft>
          <a:spcPct val="0"/>
        </a:spcAft>
        <a:buChar char="»"/>
        <a:defRPr sz="2000">
          <a:solidFill>
            <a:schemeClr val="tx1"/>
          </a:solidFill>
          <a:latin typeface="Arial" pitchFamily="34" charset="0"/>
        </a:defRPr>
      </a:lvl7pPr>
      <a:lvl8pPr marL="3429000" indent="-228600" algn="l" rtl="0" eaLnBrk="1" fontAlgn="base" hangingPunct="1">
        <a:spcBef>
          <a:spcPct val="20000"/>
        </a:spcBef>
        <a:spcAft>
          <a:spcPct val="0"/>
        </a:spcAft>
        <a:buChar char="»"/>
        <a:defRPr sz="2000">
          <a:solidFill>
            <a:schemeClr val="tx1"/>
          </a:solidFill>
          <a:latin typeface="Arial" pitchFamily="34" charset="0"/>
        </a:defRPr>
      </a:lvl8pPr>
      <a:lvl9pPr marL="3886200" indent="-228600" algn="l" rtl="0" eaLnBrk="1" fontAlgn="base" hangingPunct="1">
        <a:spcBef>
          <a:spcPct val="20000"/>
        </a:spcBef>
        <a:spcAft>
          <a:spcPct val="0"/>
        </a:spcAft>
        <a:buChar char="»"/>
        <a:defRPr sz="2000">
          <a:solidFill>
            <a:schemeClr val="tx1"/>
          </a:solidFill>
          <a:latin typeface="Arial"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Bild 7" descr="BST-0149 Hintergrund ohne Logo-10-10.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gray">
          <a:xfrm>
            <a:off x="304800" y="1066800"/>
            <a:ext cx="8382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as Titelformat zu bearbeiten</a:t>
            </a:r>
          </a:p>
        </p:txBody>
      </p:sp>
      <p:sp>
        <p:nvSpPr>
          <p:cNvPr id="1028" name="Rectangle 5"/>
          <p:cNvSpPr>
            <a:spLocks noGrp="1" noChangeArrowheads="1"/>
          </p:cNvSpPr>
          <p:nvPr>
            <p:ph type="body" idx="1"/>
          </p:nvPr>
        </p:nvSpPr>
        <p:spPr bwMode="gray">
          <a:xfrm>
            <a:off x="304800" y="1905000"/>
            <a:ext cx="84582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ie Formate des Vorlagentextes zu bearbeiten</a:t>
            </a:r>
          </a:p>
          <a:p>
            <a:pPr lvl="1"/>
            <a:r>
              <a:rPr lang="de-DE" altLang="de-DE" smtClean="0"/>
              <a:t>Zweite Ebene</a:t>
            </a:r>
          </a:p>
          <a:p>
            <a:pPr lvl="2"/>
            <a:r>
              <a:rPr lang="de-DE" altLang="de-DE" smtClean="0"/>
              <a:t>Dritte Ebene</a:t>
            </a:r>
          </a:p>
          <a:p>
            <a:pPr lvl="3"/>
            <a:r>
              <a:rPr lang="de-DE" altLang="de-DE" smtClean="0"/>
              <a:t>Vierte Ebene</a:t>
            </a:r>
          </a:p>
        </p:txBody>
      </p:sp>
    </p:spTree>
    <p:extLst>
      <p:ext uri="{BB962C8B-B14F-4D97-AF65-F5344CB8AC3E}">
        <p14:creationId xmlns:p14="http://schemas.microsoft.com/office/powerpoint/2010/main" val="1101341305"/>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Lst>
  <p:hf hdr="0"/>
  <p:txStyles>
    <p:titleStyle>
      <a:lvl1pPr algn="l" rtl="0" eaLnBrk="0" fontAlgn="base" hangingPunct="0">
        <a:spcBef>
          <a:spcPct val="0"/>
        </a:spcBef>
        <a:spcAft>
          <a:spcPct val="0"/>
        </a:spcAft>
        <a:defRPr sz="2300" b="1">
          <a:solidFill>
            <a:schemeClr val="hlink"/>
          </a:solidFill>
          <a:latin typeface="Calibri"/>
          <a:ea typeface="Calibri" pitchFamily="34" charset="0"/>
          <a:cs typeface="Calibri"/>
        </a:defRPr>
      </a:lvl1pPr>
      <a:lvl2pPr algn="l" rtl="0" eaLnBrk="0" fontAlgn="base" hangingPunct="0">
        <a:spcBef>
          <a:spcPct val="0"/>
        </a:spcBef>
        <a:spcAft>
          <a:spcPct val="0"/>
        </a:spcAft>
        <a:defRPr sz="2300" b="1">
          <a:solidFill>
            <a:schemeClr val="hlink"/>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2300" b="1">
          <a:solidFill>
            <a:schemeClr val="hlink"/>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2300" b="1">
          <a:solidFill>
            <a:schemeClr val="hlink"/>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2300" b="1">
          <a:solidFill>
            <a:schemeClr val="hlink"/>
          </a:solidFill>
          <a:latin typeface="Calibri" pitchFamily="34" charset="0"/>
          <a:ea typeface="Calibri" pitchFamily="34" charset="0"/>
          <a:cs typeface="Calibri"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p:titleStyle>
    <p:bodyStyle>
      <a:lvl1pPr marL="190500" indent="-190500" algn="l" rtl="0" eaLnBrk="0" fontAlgn="base" hangingPunct="0">
        <a:spcBef>
          <a:spcPts val="1200"/>
        </a:spcBef>
        <a:spcAft>
          <a:spcPts val="900"/>
        </a:spcAft>
        <a:buClr>
          <a:schemeClr val="hlink"/>
        </a:buClr>
        <a:defRPr>
          <a:solidFill>
            <a:srgbClr val="003264"/>
          </a:solidFill>
          <a:latin typeface="Calibri"/>
          <a:ea typeface="Calibri" pitchFamily="34" charset="0"/>
          <a:cs typeface="Calibri"/>
        </a:defRPr>
      </a:lvl1pPr>
      <a:lvl2pPr marL="179388" indent="-179388" algn="l" rtl="0" eaLnBrk="0" fontAlgn="base" hangingPunct="0">
        <a:spcBef>
          <a:spcPct val="0"/>
        </a:spcBef>
        <a:spcAft>
          <a:spcPts val="900"/>
        </a:spcAft>
        <a:buClr>
          <a:srgbClr val="003264"/>
        </a:buClr>
        <a:buFont typeface="Arial" panose="020B0604020202020204" pitchFamily="34" charset="0"/>
        <a:buChar char="•"/>
        <a:defRPr>
          <a:solidFill>
            <a:srgbClr val="003264"/>
          </a:solidFill>
          <a:latin typeface="Calibri"/>
          <a:ea typeface="Calibri" pitchFamily="34" charset="0"/>
          <a:cs typeface="Calibri"/>
        </a:defRPr>
      </a:lvl2pPr>
      <a:lvl3pPr marL="381000" indent="-176213" algn="l" rtl="0" eaLnBrk="0" fontAlgn="base" hangingPunct="0">
        <a:spcBef>
          <a:spcPct val="0"/>
        </a:spcBef>
        <a:spcAft>
          <a:spcPts val="900"/>
        </a:spcAft>
        <a:buSzPct val="75000"/>
        <a:buFont typeface="Wingdings" panose="05000000000000000000" pitchFamily="2" charset="2"/>
        <a:buChar char="§"/>
        <a:defRPr>
          <a:solidFill>
            <a:srgbClr val="003264"/>
          </a:solidFill>
          <a:latin typeface="Calibri"/>
          <a:ea typeface="Calibri" pitchFamily="34" charset="0"/>
          <a:cs typeface="Calibri"/>
        </a:defRPr>
      </a:lvl3pPr>
      <a:lvl4pPr indent="449263" algn="l" rtl="0" eaLnBrk="0" fontAlgn="base" hangingPunct="0">
        <a:spcBef>
          <a:spcPct val="0"/>
        </a:spcBef>
        <a:spcAft>
          <a:spcPts val="900"/>
        </a:spcAft>
        <a:buSzPct val="75000"/>
        <a:buFont typeface="Wingdings" panose="05000000000000000000" pitchFamily="2" charset="2"/>
        <a:defRPr>
          <a:solidFill>
            <a:srgbClr val="003264"/>
          </a:solidFill>
          <a:latin typeface="Calibri"/>
          <a:ea typeface="Calibri" pitchFamily="34" charset="0"/>
          <a:cs typeface="Calibri"/>
        </a:defRPr>
      </a:lvl4pPr>
      <a:lvl5pPr marL="2284413" indent="-455613" algn="l" rtl="0" eaLnBrk="0" fontAlgn="base" hangingPunct="0">
        <a:spcBef>
          <a:spcPct val="0"/>
        </a:spcBef>
        <a:spcAft>
          <a:spcPts val="900"/>
        </a:spcAft>
        <a:defRPr>
          <a:solidFill>
            <a:schemeClr val="tx1"/>
          </a:solidFill>
          <a:latin typeface="+mn-lt"/>
          <a:ea typeface="Calibri" pitchFamily="34" charset="0"/>
          <a:cs typeface="Calibri" pitchFamily="34" charset="0"/>
        </a:defRPr>
      </a:lvl5pPr>
      <a:lvl6pPr marL="2741613" algn="l" rtl="0" eaLnBrk="0" fontAlgn="base" hangingPunct="0">
        <a:spcBef>
          <a:spcPct val="0"/>
        </a:spcBef>
        <a:spcAft>
          <a:spcPts val="900"/>
        </a:spcAft>
        <a:defRPr>
          <a:solidFill>
            <a:schemeClr val="tx1"/>
          </a:solidFill>
          <a:latin typeface="+mn-lt"/>
        </a:defRPr>
      </a:lvl6pPr>
      <a:lvl7pPr marL="3198813" algn="l" rtl="0" eaLnBrk="0" fontAlgn="base" hangingPunct="0">
        <a:spcBef>
          <a:spcPct val="0"/>
        </a:spcBef>
        <a:spcAft>
          <a:spcPts val="900"/>
        </a:spcAft>
        <a:defRPr>
          <a:solidFill>
            <a:schemeClr val="tx1"/>
          </a:solidFill>
          <a:latin typeface="+mn-lt"/>
        </a:defRPr>
      </a:lvl7pPr>
      <a:lvl8pPr marL="3656013" algn="l" rtl="0" eaLnBrk="0" fontAlgn="base" hangingPunct="0">
        <a:spcBef>
          <a:spcPct val="0"/>
        </a:spcBef>
        <a:spcAft>
          <a:spcPts val="900"/>
        </a:spcAft>
        <a:defRPr>
          <a:solidFill>
            <a:schemeClr val="tx1"/>
          </a:solidFill>
          <a:latin typeface="+mn-lt"/>
        </a:defRPr>
      </a:lvl8pPr>
      <a:lvl9pPr marL="4113213" algn="l" rtl="0" eaLnBrk="0" fontAlgn="base" hangingPunct="0">
        <a:spcBef>
          <a:spcPct val="0"/>
        </a:spcBef>
        <a:spcAft>
          <a:spcPts val="900"/>
        </a:spcAft>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40"/>
          <p:cNvGraphicFramePr>
            <a:graphicFrameLocks noChangeAspect="1"/>
          </p:cNvGraphicFramePr>
          <p:nvPr>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0" name="think-cell Folie" r:id="rId12" imgW="38100" imgH="38100" progId="">
                  <p:embed/>
                </p:oleObj>
              </mc:Choice>
              <mc:Fallback>
                <p:oleObj name="think-cell Folie" r:id="rId12" imgW="38100" imgH="3810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Bild 7" descr="BST-0149 Hintergrund ohne Logo-10-10.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4"/>
          <p:cNvSpPr>
            <a:spLocks noGrp="1" noChangeArrowheads="1"/>
          </p:cNvSpPr>
          <p:nvPr>
            <p:ph type="title"/>
          </p:nvPr>
        </p:nvSpPr>
        <p:spPr bwMode="gray">
          <a:xfrm>
            <a:off x="304800" y="1066800"/>
            <a:ext cx="8382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as Titelformat zu bearbeiten</a:t>
            </a:r>
          </a:p>
        </p:txBody>
      </p:sp>
      <p:sp>
        <p:nvSpPr>
          <p:cNvPr id="1030" name="Rectangle 5"/>
          <p:cNvSpPr>
            <a:spLocks noGrp="1" noChangeArrowheads="1"/>
          </p:cNvSpPr>
          <p:nvPr>
            <p:ph type="body" idx="1"/>
          </p:nvPr>
        </p:nvSpPr>
        <p:spPr bwMode="gray">
          <a:xfrm>
            <a:off x="304800" y="1905000"/>
            <a:ext cx="84582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smtClean="0"/>
              <a:t>Klicken Sie, um die Formate des Vorlagentextes zu bearbeiten</a:t>
            </a:r>
          </a:p>
          <a:p>
            <a:pPr lvl="1"/>
            <a:r>
              <a:rPr lang="de-DE" altLang="de-DE" smtClean="0"/>
              <a:t>Zweite Ebene</a:t>
            </a:r>
          </a:p>
          <a:p>
            <a:pPr lvl="2"/>
            <a:r>
              <a:rPr lang="de-DE" altLang="de-DE" smtClean="0"/>
              <a:t>Dritte Ebene</a:t>
            </a:r>
          </a:p>
          <a:p>
            <a:pPr lvl="3"/>
            <a:r>
              <a:rPr lang="de-DE" altLang="de-DE" smtClean="0"/>
              <a:t>Vierte Ebene</a:t>
            </a:r>
          </a:p>
        </p:txBody>
      </p:sp>
    </p:spTree>
    <p:extLst>
      <p:ext uri="{BB962C8B-B14F-4D97-AF65-F5344CB8AC3E}">
        <p14:creationId xmlns:p14="http://schemas.microsoft.com/office/powerpoint/2010/main" val="21085761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Lst>
  <p:hf hdr="0"/>
  <p:txStyles>
    <p:titleStyle>
      <a:lvl1pPr algn="l" rtl="0" eaLnBrk="0" fontAlgn="base" hangingPunct="0">
        <a:spcBef>
          <a:spcPct val="0"/>
        </a:spcBef>
        <a:spcAft>
          <a:spcPct val="0"/>
        </a:spcAft>
        <a:defRPr sz="2300" b="1">
          <a:solidFill>
            <a:schemeClr val="hlink"/>
          </a:solidFill>
          <a:latin typeface="Calibri"/>
          <a:ea typeface="MS PGothic" panose="020B0600070205080204" pitchFamily="34" charset="-128"/>
          <a:cs typeface="Calibri"/>
        </a:defRPr>
      </a:lvl1pPr>
      <a:lvl2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2pPr>
      <a:lvl3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3pPr>
      <a:lvl4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4pPr>
      <a:lvl5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p:titleStyle>
    <p:bodyStyle>
      <a:lvl1pPr marL="190500" indent="-190500" algn="l" rtl="0" eaLnBrk="0" fontAlgn="base" hangingPunct="0">
        <a:spcBef>
          <a:spcPct val="0"/>
        </a:spcBef>
        <a:spcAft>
          <a:spcPts val="900"/>
        </a:spcAft>
        <a:buClr>
          <a:schemeClr val="hlink"/>
        </a:buClr>
        <a:defRPr>
          <a:solidFill>
            <a:srgbClr val="003264"/>
          </a:solidFill>
          <a:latin typeface="Calibri"/>
          <a:ea typeface="MS PGothic" panose="020B0600070205080204" pitchFamily="34" charset="-128"/>
          <a:cs typeface="Calibri"/>
        </a:defRPr>
      </a:lvl1pPr>
      <a:lvl2pPr marL="179388" indent="-179388" algn="l" rtl="0" eaLnBrk="0" fontAlgn="base" hangingPunct="0">
        <a:spcBef>
          <a:spcPct val="0"/>
        </a:spcBef>
        <a:spcAft>
          <a:spcPts val="900"/>
        </a:spcAft>
        <a:buClr>
          <a:srgbClr val="003264"/>
        </a:buClr>
        <a:buFont typeface="Arial" panose="020B0604020202020204" pitchFamily="34" charset="0"/>
        <a:buChar char="•"/>
        <a:defRPr>
          <a:solidFill>
            <a:srgbClr val="003264"/>
          </a:solidFill>
          <a:latin typeface="Calibri"/>
          <a:ea typeface="MS PGothic" panose="020B0600070205080204" pitchFamily="34" charset="-128"/>
          <a:cs typeface="Calibri"/>
        </a:defRPr>
      </a:lvl2pPr>
      <a:lvl3pPr marL="381000" indent="-176213" algn="l" rtl="0" eaLnBrk="0" fontAlgn="base" hangingPunct="0">
        <a:spcBef>
          <a:spcPct val="0"/>
        </a:spcBef>
        <a:spcAft>
          <a:spcPts val="900"/>
        </a:spcAft>
        <a:buSzPct val="75000"/>
        <a:buFont typeface="Wingdings" panose="05000000000000000000" pitchFamily="2" charset="2"/>
        <a:buChar char="§"/>
        <a:defRPr>
          <a:solidFill>
            <a:srgbClr val="003264"/>
          </a:solidFill>
          <a:latin typeface="Calibri"/>
          <a:ea typeface="MS PGothic" panose="020B0600070205080204" pitchFamily="34" charset="-128"/>
          <a:cs typeface="Calibri"/>
        </a:defRPr>
      </a:lvl3pPr>
      <a:lvl4pPr marL="1600200" indent="-1150938" algn="l" rtl="0" eaLnBrk="0" fontAlgn="base" hangingPunct="0">
        <a:spcBef>
          <a:spcPct val="0"/>
        </a:spcBef>
        <a:spcAft>
          <a:spcPts val="900"/>
        </a:spcAft>
        <a:buSzPct val="75000"/>
        <a:buFont typeface="Wingdings" panose="05000000000000000000" pitchFamily="2" charset="2"/>
        <a:defRPr>
          <a:solidFill>
            <a:srgbClr val="003264"/>
          </a:solidFill>
          <a:latin typeface="Calibri"/>
          <a:ea typeface="MS PGothic" panose="020B0600070205080204" pitchFamily="34" charset="-128"/>
          <a:cs typeface="Calibri"/>
        </a:defRPr>
      </a:lvl4pPr>
      <a:lvl5pPr marL="2284413" indent="-455613" algn="l" rtl="0" eaLnBrk="0" fontAlgn="base" hangingPunct="0">
        <a:spcBef>
          <a:spcPct val="0"/>
        </a:spcBef>
        <a:spcAft>
          <a:spcPts val="900"/>
        </a:spcAft>
        <a:defRPr>
          <a:solidFill>
            <a:schemeClr val="tx1"/>
          </a:solidFill>
          <a:latin typeface="+mn-lt"/>
          <a:ea typeface="MS PGothic" panose="020B0600070205080204" pitchFamily="34" charset="-128"/>
        </a:defRPr>
      </a:lvl5pPr>
      <a:lvl6pPr marL="2741613" algn="l" rtl="0" eaLnBrk="0" fontAlgn="base" hangingPunct="0">
        <a:spcBef>
          <a:spcPct val="0"/>
        </a:spcBef>
        <a:spcAft>
          <a:spcPts val="900"/>
        </a:spcAft>
        <a:defRPr>
          <a:solidFill>
            <a:schemeClr val="tx1"/>
          </a:solidFill>
          <a:latin typeface="+mn-lt"/>
        </a:defRPr>
      </a:lvl6pPr>
      <a:lvl7pPr marL="3198813" algn="l" rtl="0" eaLnBrk="0" fontAlgn="base" hangingPunct="0">
        <a:spcBef>
          <a:spcPct val="0"/>
        </a:spcBef>
        <a:spcAft>
          <a:spcPts val="900"/>
        </a:spcAft>
        <a:defRPr>
          <a:solidFill>
            <a:schemeClr val="tx1"/>
          </a:solidFill>
          <a:latin typeface="+mn-lt"/>
        </a:defRPr>
      </a:lvl7pPr>
      <a:lvl8pPr marL="3656013" algn="l" rtl="0" eaLnBrk="0" fontAlgn="base" hangingPunct="0">
        <a:spcBef>
          <a:spcPct val="0"/>
        </a:spcBef>
        <a:spcAft>
          <a:spcPts val="900"/>
        </a:spcAft>
        <a:defRPr>
          <a:solidFill>
            <a:schemeClr val="tx1"/>
          </a:solidFill>
          <a:latin typeface="+mn-lt"/>
        </a:defRPr>
      </a:lvl8pPr>
      <a:lvl9pPr marL="4113213" algn="l" rtl="0" eaLnBrk="0" fontAlgn="base" hangingPunct="0">
        <a:spcBef>
          <a:spcPct val="0"/>
        </a:spcBef>
        <a:spcAft>
          <a:spcPts val="900"/>
        </a:spcAft>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28.xml"/><Relationship Id="rId1" Type="http://schemas.openxmlformats.org/officeDocument/2006/relationships/tags" Target="../tags/tag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Inhaltsplatzhalter 10"/>
          <p:cNvSpPr txBox="1">
            <a:spLocks/>
          </p:cNvSpPr>
          <p:nvPr/>
        </p:nvSpPr>
        <p:spPr bwMode="gray">
          <a:xfrm>
            <a:off x="304800" y="5105400"/>
            <a:ext cx="8458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a:spcBef>
                <a:spcPct val="20000"/>
              </a:spcBef>
              <a:defRPr sz="3200" b="1">
                <a:solidFill>
                  <a:srgbClr val="003264"/>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a:spcBef>
                <a:spcPct val="20000"/>
              </a:spcBef>
              <a:buFont typeface="Arial" panose="020B0604020202020204" pitchFamily="34" charset="0"/>
              <a:buChar char="•"/>
              <a:defRPr sz="2800" b="1">
                <a:solidFill>
                  <a:srgbClr val="003264"/>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a:spcBef>
                <a:spcPct val="20000"/>
              </a:spcBef>
              <a:buFont typeface="Wingdings" panose="05000000000000000000" pitchFamily="2" charset="2"/>
              <a:buChar char="§"/>
              <a:defRPr sz="2400" b="1">
                <a:solidFill>
                  <a:srgbClr val="003264"/>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a:spcBef>
                <a:spcPct val="20000"/>
              </a:spcBef>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a:spcBef>
                <a:spcPct val="20000"/>
              </a:spcBef>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5pPr>
            <a:lvl6pPr marL="2514600" indent="-228600" eaLnBrk="0" fontAlgn="base" hangingPunct="0">
              <a:spcBef>
                <a:spcPct val="20000"/>
              </a:spcBef>
              <a:spcAft>
                <a:spcPct val="0"/>
              </a:spcAft>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6pPr>
            <a:lvl7pPr marL="2971800" indent="-228600" eaLnBrk="0" fontAlgn="base" hangingPunct="0">
              <a:spcBef>
                <a:spcPct val="20000"/>
              </a:spcBef>
              <a:spcAft>
                <a:spcPct val="0"/>
              </a:spcAft>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7pPr>
            <a:lvl8pPr marL="3429000" indent="-228600" eaLnBrk="0" fontAlgn="base" hangingPunct="0">
              <a:spcBef>
                <a:spcPct val="20000"/>
              </a:spcBef>
              <a:spcAft>
                <a:spcPct val="0"/>
              </a:spcAft>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8pPr>
            <a:lvl9pPr marL="3886200" indent="-228600" eaLnBrk="0" fontAlgn="base" hangingPunct="0">
              <a:spcBef>
                <a:spcPct val="20000"/>
              </a:spcBef>
              <a:spcAft>
                <a:spcPct val="0"/>
              </a:spcAft>
              <a:buChar char="»"/>
              <a:defRPr sz="2000" b="1">
                <a:solidFill>
                  <a:srgbClr val="003264"/>
                </a:solidFill>
                <a:latin typeface="Calibri" panose="020F0502020204030204" pitchFamily="34" charset="0"/>
                <a:ea typeface="MS PGothic" panose="020B0600070205080204" pitchFamily="34" charset="-128"/>
                <a:cs typeface="Calibri" panose="020F0502020204030204" pitchFamily="34" charset="0"/>
              </a:defRPr>
            </a:lvl9pPr>
          </a:lstStyle>
          <a:p>
            <a:pPr>
              <a:spcBef>
                <a:spcPts val="1200"/>
              </a:spcBef>
              <a:spcAft>
                <a:spcPts val="900"/>
              </a:spcAft>
              <a:buClr>
                <a:schemeClr val="hlink"/>
              </a:buClr>
            </a:pPr>
            <a:endParaRPr lang="de-DE" altLang="de-DE" sz="1800" b="0" dirty="0"/>
          </a:p>
        </p:txBody>
      </p:sp>
      <p:sp>
        <p:nvSpPr>
          <p:cNvPr id="10243" name="Titel 8"/>
          <p:cNvSpPr>
            <a:spLocks noGrp="1"/>
          </p:cNvSpPr>
          <p:nvPr>
            <p:ph type="ctrTitle"/>
          </p:nvPr>
        </p:nvSpPr>
        <p:spPr>
          <a:xfrm>
            <a:off x="228600" y="1882775"/>
            <a:ext cx="7772400" cy="2384425"/>
          </a:xfrm>
        </p:spPr>
        <p:txBody>
          <a:bodyPr/>
          <a:lstStyle/>
          <a:p>
            <a:pPr>
              <a:lnSpc>
                <a:spcPct val="100000"/>
              </a:lnSpc>
            </a:pPr>
            <a:r>
              <a:rPr lang="de-DE" altLang="de-DE" sz="2800" dirty="0" smtClean="0">
                <a:latin typeface="Calibri" panose="020F0502020204030204" pitchFamily="34" charset="0"/>
                <a:cs typeface="Calibri" panose="020F0502020204030204" pitchFamily="34" charset="0"/>
              </a:rPr>
              <a:t/>
            </a:r>
            <a:br>
              <a:rPr lang="de-DE" altLang="de-DE" sz="2800" dirty="0" smtClean="0">
                <a:latin typeface="Calibri" panose="020F0502020204030204" pitchFamily="34" charset="0"/>
                <a:cs typeface="Calibri" panose="020F0502020204030204" pitchFamily="34" charset="0"/>
              </a:rPr>
            </a:br>
            <a:r>
              <a:rPr lang="de-DE" altLang="de-DE" sz="2800" dirty="0" smtClean="0">
                <a:latin typeface="Calibri" panose="020F0502020204030204" pitchFamily="34" charset="0"/>
                <a:cs typeface="Calibri" panose="020F0502020204030204" pitchFamily="34" charset="0"/>
              </a:rPr>
              <a:t/>
            </a:r>
            <a:br>
              <a:rPr lang="de-DE" altLang="de-DE" sz="2800" dirty="0" smtClean="0">
                <a:latin typeface="Calibri" panose="020F0502020204030204" pitchFamily="34" charset="0"/>
                <a:cs typeface="Calibri" panose="020F0502020204030204" pitchFamily="34" charset="0"/>
              </a:rPr>
            </a:br>
            <a:r>
              <a:rPr lang="de-DE" sz="2800" i="1" dirty="0" smtClean="0"/>
              <a:t>Vielfalt fördern</a:t>
            </a:r>
            <a:r>
              <a:rPr lang="de-DE" sz="2800" dirty="0" smtClean="0"/>
              <a:t/>
            </a:r>
            <a:br>
              <a:rPr lang="de-DE" sz="2800" dirty="0" smtClean="0"/>
            </a:br>
            <a:r>
              <a:rPr lang="de-DE" sz="2800" dirty="0" smtClean="0"/>
              <a:t/>
            </a:r>
            <a:br>
              <a:rPr lang="de-DE" sz="2800" dirty="0" smtClean="0"/>
            </a:br>
            <a:r>
              <a:rPr lang="de-DE" sz="2600" b="0" dirty="0" smtClean="0"/>
              <a:t>Basisinformationen zur Fortbildung </a:t>
            </a:r>
            <a:endParaRPr lang="de-DE" altLang="de-DE" sz="2600" dirty="0" smtClean="0">
              <a:latin typeface="Calibri" panose="020F0502020204030204" pitchFamily="34" charset="0"/>
              <a:cs typeface="Calibri" panose="020F0502020204030204" pitchFamily="34" charset="0"/>
            </a:endParaRPr>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1400" y="6172200"/>
            <a:ext cx="2362200" cy="629628"/>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51520" y="1065600"/>
            <a:ext cx="7003887" cy="800219"/>
          </a:xfrm>
          <a:prstGeom prst="rect">
            <a:avLst/>
          </a:prstGeom>
          <a:noFill/>
        </p:spPr>
        <p:txBody>
          <a:bodyPr wrap="square" rtlCol="0">
            <a:spAutoFit/>
          </a:bodyPr>
          <a:lstStyle/>
          <a:p>
            <a:pPr fontAlgn="auto">
              <a:spcBef>
                <a:spcPts val="0"/>
              </a:spcBef>
              <a:spcAft>
                <a:spcPts val="0"/>
              </a:spcAft>
            </a:pPr>
            <a:r>
              <a:rPr lang="de-DE" sz="2300" b="1" dirty="0">
                <a:solidFill>
                  <a:srgbClr val="003264"/>
                </a:solidFill>
                <a:latin typeface="Calibri"/>
                <a:ea typeface="+mn-ea"/>
                <a:cs typeface="Calibri"/>
              </a:rPr>
              <a:t>Modul 1: Teamentwicklung</a:t>
            </a:r>
          </a:p>
          <a:p>
            <a:pPr fontAlgn="auto">
              <a:spcBef>
                <a:spcPts val="0"/>
              </a:spcBef>
              <a:spcAft>
                <a:spcPts val="0"/>
              </a:spcAft>
            </a:pPr>
            <a:r>
              <a:rPr lang="de-DE" sz="2300" b="1" dirty="0">
                <a:solidFill>
                  <a:srgbClr val="003264"/>
                </a:solidFill>
                <a:latin typeface="Calibri"/>
                <a:ea typeface="+mn-ea"/>
                <a:cs typeface="Calibri"/>
              </a:rPr>
              <a:t>Verteilung der Bausteine auf Fortbildungshalbtage</a:t>
            </a:r>
          </a:p>
        </p:txBody>
      </p:sp>
      <p:sp>
        <p:nvSpPr>
          <p:cNvPr id="25" name="TextBox 24"/>
          <p:cNvSpPr txBox="1"/>
          <p:nvPr/>
        </p:nvSpPr>
        <p:spPr>
          <a:xfrm>
            <a:off x="5244980" y="3805535"/>
            <a:ext cx="1299908" cy="584775"/>
          </a:xfrm>
          <a:prstGeom prst="rect">
            <a:avLst/>
          </a:prstGeom>
          <a:noFill/>
        </p:spPr>
        <p:txBody>
          <a:bodyPr wrap="none" rtlCol="0">
            <a:spAutoFit/>
          </a:bodyPr>
          <a:lstStyle/>
          <a:p>
            <a:pPr algn="ctr" fontAlgn="auto">
              <a:spcBef>
                <a:spcPts val="0"/>
              </a:spcBef>
              <a:spcAft>
                <a:spcPts val="0"/>
              </a:spcAft>
            </a:pPr>
            <a:r>
              <a:rPr lang="de-DE" sz="1600" dirty="0">
                <a:solidFill>
                  <a:srgbClr val="003264"/>
                </a:solidFill>
                <a:latin typeface="Calibri"/>
                <a:ea typeface="+mn-ea"/>
              </a:rPr>
              <a:t>Classroom-</a:t>
            </a:r>
          </a:p>
          <a:p>
            <a:pPr algn="ctr" fontAlgn="auto">
              <a:spcBef>
                <a:spcPts val="0"/>
              </a:spcBef>
              <a:spcAft>
                <a:spcPts val="0"/>
              </a:spcAft>
            </a:pPr>
            <a:r>
              <a:rPr lang="de-DE" sz="1600" dirty="0">
                <a:solidFill>
                  <a:srgbClr val="003264"/>
                </a:solidFill>
                <a:latin typeface="Calibri"/>
                <a:ea typeface="+mn-ea"/>
              </a:rPr>
              <a:t>Management</a:t>
            </a:r>
          </a:p>
        </p:txBody>
      </p:sp>
      <p:sp>
        <p:nvSpPr>
          <p:cNvPr id="26" name="TextBox 25"/>
          <p:cNvSpPr txBox="1"/>
          <p:nvPr/>
        </p:nvSpPr>
        <p:spPr>
          <a:xfrm>
            <a:off x="4038197" y="3805535"/>
            <a:ext cx="1185324" cy="830997"/>
          </a:xfrm>
          <a:prstGeom prst="rect">
            <a:avLst/>
          </a:prstGeom>
          <a:noFill/>
        </p:spPr>
        <p:txBody>
          <a:bodyPr wrap="none" rtlCol="0">
            <a:spAutoFit/>
          </a:bodyPr>
          <a:lstStyle/>
          <a:p>
            <a:pPr algn="ctr" fontAlgn="auto">
              <a:spcBef>
                <a:spcPts val="0"/>
              </a:spcBef>
              <a:spcAft>
                <a:spcPts val="0"/>
              </a:spcAft>
            </a:pPr>
            <a:r>
              <a:rPr lang="de-DE" sz="1600" dirty="0">
                <a:solidFill>
                  <a:srgbClr val="003264"/>
                </a:solidFill>
                <a:latin typeface="Calibri"/>
                <a:ea typeface="+mn-ea"/>
              </a:rPr>
              <a:t>Kollegiale</a:t>
            </a:r>
          </a:p>
          <a:p>
            <a:pPr algn="ctr" fontAlgn="auto">
              <a:spcBef>
                <a:spcPts val="0"/>
              </a:spcBef>
              <a:spcAft>
                <a:spcPts val="0"/>
              </a:spcAft>
            </a:pPr>
            <a:r>
              <a:rPr lang="de-DE" sz="1600" dirty="0">
                <a:solidFill>
                  <a:srgbClr val="003264"/>
                </a:solidFill>
                <a:latin typeface="Calibri"/>
                <a:ea typeface="+mn-ea"/>
              </a:rPr>
              <a:t>Unterrichts-</a:t>
            </a:r>
          </a:p>
          <a:p>
            <a:pPr algn="ctr" fontAlgn="auto">
              <a:spcBef>
                <a:spcPts val="0"/>
              </a:spcBef>
              <a:spcAft>
                <a:spcPts val="0"/>
              </a:spcAft>
            </a:pPr>
            <a:r>
              <a:rPr lang="de-DE" sz="1600" dirty="0">
                <a:solidFill>
                  <a:srgbClr val="003264"/>
                </a:solidFill>
                <a:latin typeface="Calibri"/>
                <a:ea typeface="+mn-ea"/>
              </a:rPr>
              <a:t>hospitation</a:t>
            </a:r>
          </a:p>
        </p:txBody>
      </p:sp>
      <p:sp>
        <p:nvSpPr>
          <p:cNvPr id="27" name="TextBox 26"/>
          <p:cNvSpPr txBox="1"/>
          <p:nvPr/>
        </p:nvSpPr>
        <p:spPr>
          <a:xfrm>
            <a:off x="6485625" y="3805535"/>
            <a:ext cx="1192634" cy="584775"/>
          </a:xfrm>
          <a:prstGeom prst="rect">
            <a:avLst/>
          </a:prstGeom>
          <a:noFill/>
        </p:spPr>
        <p:txBody>
          <a:bodyPr wrap="none" rtlCol="0">
            <a:spAutoFit/>
          </a:bodyPr>
          <a:lstStyle/>
          <a:p>
            <a:pPr fontAlgn="auto">
              <a:spcBef>
                <a:spcPts val="0"/>
              </a:spcBef>
              <a:spcAft>
                <a:spcPts val="0"/>
              </a:spcAft>
            </a:pPr>
            <a:r>
              <a:rPr lang="de-DE" sz="1600" dirty="0">
                <a:solidFill>
                  <a:srgbClr val="003264"/>
                </a:solidFill>
                <a:latin typeface="Calibri"/>
                <a:ea typeface="+mn-ea"/>
              </a:rPr>
              <a:t>Unterrichts-</a:t>
            </a:r>
          </a:p>
          <a:p>
            <a:pPr fontAlgn="auto">
              <a:spcBef>
                <a:spcPts val="0"/>
              </a:spcBef>
              <a:spcAft>
                <a:spcPts val="0"/>
              </a:spcAft>
            </a:pPr>
            <a:r>
              <a:rPr lang="de-DE" sz="1600" dirty="0">
                <a:solidFill>
                  <a:srgbClr val="003264"/>
                </a:solidFill>
                <a:latin typeface="Calibri"/>
                <a:ea typeface="+mn-ea"/>
              </a:rPr>
              <a:t>entwicklung</a:t>
            </a:r>
          </a:p>
        </p:txBody>
      </p:sp>
      <p:sp>
        <p:nvSpPr>
          <p:cNvPr id="29" name="TextBox 28"/>
          <p:cNvSpPr txBox="1"/>
          <p:nvPr/>
        </p:nvSpPr>
        <p:spPr>
          <a:xfrm>
            <a:off x="6705600" y="4953000"/>
            <a:ext cx="2286000" cy="1077218"/>
          </a:xfrm>
          <a:prstGeom prst="rect">
            <a:avLst/>
          </a:prstGeom>
          <a:noFill/>
        </p:spPr>
        <p:txBody>
          <a:bodyPr wrap="square" rtlCol="0">
            <a:spAutoFit/>
          </a:bodyPr>
          <a:lstStyle/>
          <a:p>
            <a:pPr algn="ctr" fontAlgn="auto">
              <a:spcBef>
                <a:spcPts val="0"/>
              </a:spcBef>
              <a:spcAft>
                <a:spcPts val="0"/>
              </a:spcAft>
            </a:pPr>
            <a:r>
              <a:rPr lang="de-DE" sz="1600" dirty="0">
                <a:solidFill>
                  <a:srgbClr val="6DAA31"/>
                </a:solidFill>
                <a:latin typeface="Calibri"/>
                <a:ea typeface="+mn-ea"/>
              </a:rPr>
              <a:t>Durchführungsphase Kollegiale Unterrichtshospitation: </a:t>
            </a:r>
          </a:p>
          <a:p>
            <a:pPr algn="ctr" fontAlgn="auto">
              <a:spcBef>
                <a:spcPts val="0"/>
              </a:spcBef>
              <a:spcAft>
                <a:spcPts val="0"/>
              </a:spcAft>
            </a:pPr>
            <a:r>
              <a:rPr lang="de-DE" sz="1600" dirty="0">
                <a:solidFill>
                  <a:srgbClr val="6DAA31"/>
                </a:solidFill>
                <a:latin typeface="Calibri"/>
                <a:ea typeface="+mn-ea"/>
              </a:rPr>
              <a:t>6 bis 8 Wochen</a:t>
            </a:r>
          </a:p>
        </p:txBody>
      </p:sp>
      <p:sp>
        <p:nvSpPr>
          <p:cNvPr id="60" name="TextBox 59"/>
          <p:cNvSpPr txBox="1"/>
          <p:nvPr/>
        </p:nvSpPr>
        <p:spPr>
          <a:xfrm>
            <a:off x="381000" y="6336268"/>
            <a:ext cx="661335"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Sept.</a:t>
            </a:r>
          </a:p>
        </p:txBody>
      </p:sp>
      <p:sp>
        <p:nvSpPr>
          <p:cNvPr id="61" name="TextBox 60"/>
          <p:cNvSpPr txBox="1"/>
          <p:nvPr/>
        </p:nvSpPr>
        <p:spPr>
          <a:xfrm>
            <a:off x="2819400" y="6336268"/>
            <a:ext cx="578028"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Okt.</a:t>
            </a:r>
          </a:p>
        </p:txBody>
      </p:sp>
      <p:sp>
        <p:nvSpPr>
          <p:cNvPr id="62" name="TextBox 61"/>
          <p:cNvSpPr txBox="1"/>
          <p:nvPr/>
        </p:nvSpPr>
        <p:spPr>
          <a:xfrm>
            <a:off x="4495800" y="6336268"/>
            <a:ext cx="617928"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Nov.</a:t>
            </a:r>
          </a:p>
        </p:txBody>
      </p:sp>
      <p:sp>
        <p:nvSpPr>
          <p:cNvPr id="63" name="TextBox 62"/>
          <p:cNvSpPr txBox="1"/>
          <p:nvPr/>
        </p:nvSpPr>
        <p:spPr>
          <a:xfrm>
            <a:off x="5867400" y="6336268"/>
            <a:ext cx="590990"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Dez.</a:t>
            </a:r>
          </a:p>
        </p:txBody>
      </p:sp>
      <p:sp>
        <p:nvSpPr>
          <p:cNvPr id="64" name="TextBox 63"/>
          <p:cNvSpPr txBox="1"/>
          <p:nvPr/>
        </p:nvSpPr>
        <p:spPr>
          <a:xfrm>
            <a:off x="7010400" y="6336268"/>
            <a:ext cx="548385"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Jan.</a:t>
            </a:r>
          </a:p>
        </p:txBody>
      </p:sp>
      <p:sp>
        <p:nvSpPr>
          <p:cNvPr id="65" name="TextBox 64"/>
          <p:cNvSpPr txBox="1"/>
          <p:nvPr/>
        </p:nvSpPr>
        <p:spPr>
          <a:xfrm>
            <a:off x="7644471" y="6336268"/>
            <a:ext cx="585129"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Feb.</a:t>
            </a:r>
          </a:p>
        </p:txBody>
      </p:sp>
      <p:sp>
        <p:nvSpPr>
          <p:cNvPr id="66" name="TextBox 65"/>
          <p:cNvSpPr txBox="1"/>
          <p:nvPr/>
        </p:nvSpPr>
        <p:spPr>
          <a:xfrm>
            <a:off x="8229600" y="6336268"/>
            <a:ext cx="663964" cy="369332"/>
          </a:xfrm>
          <a:prstGeom prst="rect">
            <a:avLst/>
          </a:prstGeom>
          <a:noFill/>
        </p:spPr>
        <p:txBody>
          <a:bodyPr wrap="none" rtlCol="0">
            <a:spAutoFit/>
          </a:bodyPr>
          <a:lstStyle/>
          <a:p>
            <a:pPr fontAlgn="auto">
              <a:spcBef>
                <a:spcPts val="0"/>
              </a:spcBef>
              <a:spcAft>
                <a:spcPts val="0"/>
              </a:spcAft>
            </a:pPr>
            <a:r>
              <a:rPr lang="de-DE" sz="1800" dirty="0">
                <a:solidFill>
                  <a:srgbClr val="003264"/>
                </a:solidFill>
                <a:latin typeface="Calibri"/>
                <a:ea typeface="+mn-ea"/>
              </a:rPr>
              <a:t>März</a:t>
            </a:r>
          </a:p>
        </p:txBody>
      </p:sp>
      <p:sp>
        <p:nvSpPr>
          <p:cNvPr id="77" name="TextBox 76"/>
          <p:cNvSpPr txBox="1"/>
          <p:nvPr/>
        </p:nvSpPr>
        <p:spPr>
          <a:xfrm>
            <a:off x="5629399" y="4483406"/>
            <a:ext cx="1627222" cy="307777"/>
          </a:xfrm>
          <a:prstGeom prst="rect">
            <a:avLst/>
          </a:prstGeom>
          <a:noFill/>
        </p:spPr>
        <p:txBody>
          <a:bodyPr wrap="square" rtlCol="0">
            <a:spAutoFit/>
          </a:bodyPr>
          <a:lstStyle/>
          <a:p>
            <a:pPr algn="ctr" fontAlgn="auto">
              <a:spcBef>
                <a:spcPts val="0"/>
              </a:spcBef>
              <a:spcAft>
                <a:spcPts val="0"/>
              </a:spcAft>
            </a:pPr>
            <a:r>
              <a:rPr lang="de-DE" sz="1400" b="1" dirty="0">
                <a:solidFill>
                  <a:srgbClr val="003264"/>
                </a:solidFill>
                <a:latin typeface="Calibri"/>
                <a:ea typeface="+mn-ea"/>
              </a:rPr>
              <a:t>(ideal als Ganztag)</a:t>
            </a:r>
          </a:p>
        </p:txBody>
      </p:sp>
      <p:sp>
        <p:nvSpPr>
          <p:cNvPr id="80" name="TextBox 79"/>
          <p:cNvSpPr txBox="1"/>
          <p:nvPr/>
        </p:nvSpPr>
        <p:spPr>
          <a:xfrm>
            <a:off x="1462899" y="3805535"/>
            <a:ext cx="1069285" cy="584775"/>
          </a:xfrm>
          <a:prstGeom prst="rect">
            <a:avLst/>
          </a:prstGeom>
          <a:noFill/>
        </p:spPr>
        <p:txBody>
          <a:bodyPr wrap="square" rtlCol="0">
            <a:spAutoFit/>
          </a:bodyPr>
          <a:lstStyle/>
          <a:p>
            <a:pPr algn="ctr" fontAlgn="auto">
              <a:spcBef>
                <a:spcPts val="0"/>
              </a:spcBef>
              <a:spcAft>
                <a:spcPts val="0"/>
              </a:spcAft>
            </a:pPr>
            <a:r>
              <a:rPr lang="de-DE" sz="1600" dirty="0">
                <a:solidFill>
                  <a:srgbClr val="003264"/>
                </a:solidFill>
                <a:latin typeface="Calibri"/>
                <a:ea typeface="+mn-ea"/>
              </a:rPr>
              <a:t>Vielfalt </a:t>
            </a:r>
            <a:br>
              <a:rPr lang="de-DE" sz="1600" dirty="0">
                <a:solidFill>
                  <a:srgbClr val="003264"/>
                </a:solidFill>
                <a:latin typeface="Calibri"/>
                <a:ea typeface="+mn-ea"/>
              </a:rPr>
            </a:br>
            <a:r>
              <a:rPr lang="de-DE" sz="1600" dirty="0">
                <a:solidFill>
                  <a:srgbClr val="003264"/>
                </a:solidFill>
                <a:latin typeface="Calibri"/>
                <a:ea typeface="+mn-ea"/>
              </a:rPr>
              <a:t>und Team</a:t>
            </a:r>
          </a:p>
        </p:txBody>
      </p:sp>
      <p:sp>
        <p:nvSpPr>
          <p:cNvPr id="81" name="TextBox 80"/>
          <p:cNvSpPr txBox="1"/>
          <p:nvPr/>
        </p:nvSpPr>
        <p:spPr>
          <a:xfrm>
            <a:off x="2782094" y="3805535"/>
            <a:ext cx="1186167" cy="584775"/>
          </a:xfrm>
          <a:prstGeom prst="rect">
            <a:avLst/>
          </a:prstGeom>
          <a:noFill/>
        </p:spPr>
        <p:txBody>
          <a:bodyPr wrap="square" rtlCol="0">
            <a:spAutoFit/>
          </a:bodyPr>
          <a:lstStyle/>
          <a:p>
            <a:pPr algn="ctr" fontAlgn="auto">
              <a:spcBef>
                <a:spcPts val="0"/>
              </a:spcBef>
              <a:spcAft>
                <a:spcPts val="0"/>
              </a:spcAft>
            </a:pPr>
            <a:r>
              <a:rPr lang="de-DE" sz="1600" dirty="0">
                <a:solidFill>
                  <a:srgbClr val="003264"/>
                </a:solidFill>
                <a:latin typeface="Calibri"/>
                <a:ea typeface="+mn-ea"/>
              </a:rPr>
              <a:t>Team-</a:t>
            </a:r>
            <a:br>
              <a:rPr lang="de-DE" sz="1600" dirty="0">
                <a:solidFill>
                  <a:srgbClr val="003264"/>
                </a:solidFill>
                <a:latin typeface="Calibri"/>
                <a:ea typeface="+mn-ea"/>
              </a:rPr>
            </a:br>
            <a:r>
              <a:rPr lang="de-DE" sz="1600" dirty="0">
                <a:solidFill>
                  <a:srgbClr val="003264"/>
                </a:solidFill>
                <a:latin typeface="Calibri"/>
                <a:ea typeface="+mn-ea"/>
              </a:rPr>
              <a:t>entwicklung</a:t>
            </a:r>
          </a:p>
        </p:txBody>
      </p:sp>
      <p:sp>
        <p:nvSpPr>
          <p:cNvPr id="41" name="TextBox 26"/>
          <p:cNvSpPr txBox="1"/>
          <p:nvPr/>
        </p:nvSpPr>
        <p:spPr>
          <a:xfrm>
            <a:off x="7778976" y="3810000"/>
            <a:ext cx="1314784" cy="584775"/>
          </a:xfrm>
          <a:prstGeom prst="rect">
            <a:avLst/>
          </a:prstGeom>
          <a:noFill/>
        </p:spPr>
        <p:txBody>
          <a:bodyPr wrap="none" rtlCol="0">
            <a:spAutoFit/>
          </a:bodyPr>
          <a:lstStyle/>
          <a:p>
            <a:pPr algn="ctr" fontAlgn="auto">
              <a:spcBef>
                <a:spcPts val="0"/>
              </a:spcBef>
              <a:spcAft>
                <a:spcPts val="0"/>
              </a:spcAft>
            </a:pPr>
            <a:r>
              <a:rPr lang="de-DE" sz="1600" dirty="0">
                <a:solidFill>
                  <a:srgbClr val="003264"/>
                </a:solidFill>
                <a:latin typeface="Calibri"/>
                <a:ea typeface="+mn-ea"/>
              </a:rPr>
              <a:t>Maßnahmen-</a:t>
            </a:r>
          </a:p>
          <a:p>
            <a:pPr algn="ctr" fontAlgn="auto">
              <a:spcBef>
                <a:spcPts val="0"/>
              </a:spcBef>
              <a:spcAft>
                <a:spcPts val="0"/>
              </a:spcAft>
            </a:pPr>
            <a:r>
              <a:rPr lang="de-DE" sz="1600" dirty="0">
                <a:solidFill>
                  <a:srgbClr val="003264"/>
                </a:solidFill>
                <a:latin typeface="Calibri"/>
                <a:ea typeface="+mn-ea"/>
              </a:rPr>
              <a:t>planung</a:t>
            </a:r>
          </a:p>
        </p:txBody>
      </p:sp>
      <p:grpSp>
        <p:nvGrpSpPr>
          <p:cNvPr id="79" name="Gruppierung 78"/>
          <p:cNvGrpSpPr/>
          <p:nvPr/>
        </p:nvGrpSpPr>
        <p:grpSpPr>
          <a:xfrm>
            <a:off x="1524000" y="2209801"/>
            <a:ext cx="7355178" cy="1610345"/>
            <a:chOff x="733870" y="3688211"/>
            <a:chExt cx="11224987" cy="2681481"/>
          </a:xfrm>
        </p:grpSpPr>
        <p:cxnSp>
          <p:nvCxnSpPr>
            <p:cNvPr id="84" name="Gerade Verbindung 83"/>
            <p:cNvCxnSpPr>
              <a:stCxn id="88" idx="4"/>
              <a:endCxn id="93" idx="0"/>
            </p:cNvCxnSpPr>
            <p:nvPr/>
          </p:nvCxnSpPr>
          <p:spPr>
            <a:xfrm flipH="1">
              <a:off x="7296567" y="4802126"/>
              <a:ext cx="35408" cy="673049"/>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stCxn id="88" idx="3"/>
              <a:endCxn id="92" idx="0"/>
            </p:cNvCxnSpPr>
            <p:nvPr/>
          </p:nvCxnSpPr>
          <p:spPr>
            <a:xfrm flipH="1">
              <a:off x="5648159" y="4638997"/>
              <a:ext cx="1168861" cy="822670"/>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Ellipse 6"/>
            <p:cNvSpPr/>
            <p:nvPr/>
          </p:nvSpPr>
          <p:spPr>
            <a:xfrm>
              <a:off x="2827116" y="3688211"/>
              <a:ext cx="1456509" cy="11139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B 2</a:t>
              </a:r>
            </a:p>
          </p:txBody>
        </p:sp>
        <p:sp>
          <p:nvSpPr>
            <p:cNvPr id="88" name="Ellipse 7"/>
            <p:cNvSpPr/>
            <p:nvPr/>
          </p:nvSpPr>
          <p:spPr>
            <a:xfrm>
              <a:off x="6603720" y="3688211"/>
              <a:ext cx="1456509" cy="111391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B 3</a:t>
              </a:r>
            </a:p>
          </p:txBody>
        </p:sp>
        <p:sp>
          <p:nvSpPr>
            <p:cNvPr id="89" name="Ellipse 8"/>
            <p:cNvSpPr/>
            <p:nvPr/>
          </p:nvSpPr>
          <p:spPr>
            <a:xfrm>
              <a:off x="10502348" y="3688211"/>
              <a:ext cx="1456509" cy="1113915"/>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B 4</a:t>
              </a:r>
            </a:p>
          </p:txBody>
        </p:sp>
        <p:sp>
          <p:nvSpPr>
            <p:cNvPr id="90" name="Rechteck 89"/>
            <p:cNvSpPr/>
            <p:nvPr/>
          </p:nvSpPr>
          <p:spPr>
            <a:xfrm>
              <a:off x="850162" y="5461668"/>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1</a:t>
              </a:r>
            </a:p>
          </p:txBody>
        </p:sp>
        <p:sp>
          <p:nvSpPr>
            <p:cNvPr id="91" name="Rechteck 90"/>
            <p:cNvSpPr/>
            <p:nvPr/>
          </p:nvSpPr>
          <p:spPr>
            <a:xfrm>
              <a:off x="2943407" y="5461668"/>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2</a:t>
              </a:r>
            </a:p>
          </p:txBody>
        </p:sp>
        <p:sp>
          <p:nvSpPr>
            <p:cNvPr id="92" name="Rechteck 91"/>
            <p:cNvSpPr/>
            <p:nvPr/>
          </p:nvSpPr>
          <p:spPr>
            <a:xfrm>
              <a:off x="5031639" y="5461667"/>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3</a:t>
              </a:r>
            </a:p>
          </p:txBody>
        </p:sp>
        <p:sp>
          <p:nvSpPr>
            <p:cNvPr id="93" name="Rechteck 92"/>
            <p:cNvSpPr/>
            <p:nvPr/>
          </p:nvSpPr>
          <p:spPr>
            <a:xfrm>
              <a:off x="6680047" y="5475175"/>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4</a:t>
              </a:r>
            </a:p>
          </p:txBody>
        </p:sp>
        <p:sp>
          <p:nvSpPr>
            <p:cNvPr id="94" name="Rechteck 93"/>
            <p:cNvSpPr/>
            <p:nvPr/>
          </p:nvSpPr>
          <p:spPr>
            <a:xfrm>
              <a:off x="8298988" y="5478562"/>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5</a:t>
              </a:r>
            </a:p>
          </p:txBody>
        </p:sp>
        <p:sp>
          <p:nvSpPr>
            <p:cNvPr id="95" name="Ellipse 21"/>
            <p:cNvSpPr/>
            <p:nvPr/>
          </p:nvSpPr>
          <p:spPr>
            <a:xfrm>
              <a:off x="733870" y="3688211"/>
              <a:ext cx="1456509" cy="11139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B 1</a:t>
              </a:r>
            </a:p>
          </p:txBody>
        </p:sp>
        <p:cxnSp>
          <p:nvCxnSpPr>
            <p:cNvPr id="96" name="Gerade Verbindung 95"/>
            <p:cNvCxnSpPr>
              <a:stCxn id="95" idx="4"/>
              <a:endCxn id="90" idx="0"/>
            </p:cNvCxnSpPr>
            <p:nvPr/>
          </p:nvCxnSpPr>
          <p:spPr>
            <a:xfrm rot="16200000" flipH="1">
              <a:off x="1134633" y="5129618"/>
              <a:ext cx="659541" cy="4557"/>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Gerade Verbindung 96"/>
            <p:cNvCxnSpPr>
              <a:stCxn id="87" idx="4"/>
              <a:endCxn id="91" idx="0"/>
            </p:cNvCxnSpPr>
            <p:nvPr/>
          </p:nvCxnSpPr>
          <p:spPr>
            <a:xfrm rot="16200000" flipH="1">
              <a:off x="3227879" y="5129618"/>
              <a:ext cx="659541" cy="4557"/>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rade Verbindung 98"/>
            <p:cNvCxnSpPr>
              <a:stCxn id="88" idx="5"/>
              <a:endCxn id="94" idx="0"/>
            </p:cNvCxnSpPr>
            <p:nvPr/>
          </p:nvCxnSpPr>
          <p:spPr>
            <a:xfrm>
              <a:off x="7846927" y="4638997"/>
              <a:ext cx="1068581" cy="839565"/>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1" name="Rechteck 100"/>
            <p:cNvSpPr/>
            <p:nvPr/>
          </p:nvSpPr>
          <p:spPr>
            <a:xfrm>
              <a:off x="10610898" y="5461668"/>
              <a:ext cx="1233038" cy="89113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sz="1800" b="1" dirty="0">
                  <a:solidFill>
                    <a:srgbClr val="FFFFFF"/>
                  </a:solidFill>
                  <a:cs typeface="Calibri"/>
                </a:rPr>
                <a:t>HT 6</a:t>
              </a:r>
            </a:p>
          </p:txBody>
        </p:sp>
        <p:cxnSp>
          <p:nvCxnSpPr>
            <p:cNvPr id="113" name="Gerade Verbindung 112"/>
            <p:cNvCxnSpPr>
              <a:stCxn id="89" idx="4"/>
              <a:endCxn id="101" idx="0"/>
            </p:cNvCxnSpPr>
            <p:nvPr/>
          </p:nvCxnSpPr>
          <p:spPr>
            <a:xfrm rot="5400000">
              <a:off x="10899241" y="5130304"/>
              <a:ext cx="659541" cy="3185"/>
            </a:xfrm>
            <a:prstGeom prst="line">
              <a:avLst/>
            </a:prstGeom>
            <a:ln w="25400" cap="flat" cmpd="sng" algn="ctr">
              <a:solidFill>
                <a:schemeClr val="accent1">
                  <a:shade val="95000"/>
                  <a:satMod val="10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8" name="Pfeil nach rechts 127"/>
          <p:cNvSpPr/>
          <p:nvPr/>
        </p:nvSpPr>
        <p:spPr>
          <a:xfrm>
            <a:off x="4038600" y="2438400"/>
            <a:ext cx="1143000" cy="15240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800" dirty="0">
              <a:solidFill>
                <a:srgbClr val="FFFFFF"/>
              </a:solidFill>
              <a:cs typeface="Calibri"/>
            </a:endParaRPr>
          </a:p>
        </p:txBody>
      </p:sp>
      <p:sp>
        <p:nvSpPr>
          <p:cNvPr id="129" name="Pfeil nach rechts 128"/>
          <p:cNvSpPr/>
          <p:nvPr/>
        </p:nvSpPr>
        <p:spPr>
          <a:xfrm>
            <a:off x="6629400" y="2438400"/>
            <a:ext cx="1143000" cy="152401"/>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800" dirty="0">
              <a:solidFill>
                <a:srgbClr val="FFFFFF"/>
              </a:solidFill>
              <a:cs typeface="Calibri"/>
            </a:endParaRPr>
          </a:p>
        </p:txBody>
      </p:sp>
      <p:sp>
        <p:nvSpPr>
          <p:cNvPr id="135" name="Gebogener Pfeil 134"/>
          <p:cNvSpPr/>
          <p:nvPr/>
        </p:nvSpPr>
        <p:spPr bwMode="auto">
          <a:xfrm flipV="1">
            <a:off x="7315200" y="3886200"/>
            <a:ext cx="1066800" cy="1066800"/>
          </a:xfrm>
          <a:prstGeom prst="circularArrow">
            <a:avLst>
              <a:gd name="adj1" fmla="val 6948"/>
              <a:gd name="adj2" fmla="val 1043028"/>
              <a:gd name="adj3" fmla="val 20486940"/>
              <a:gd name="adj4" fmla="val 10800000"/>
              <a:gd name="adj5" fmla="val 9106"/>
            </a:avLst>
          </a:prstGeom>
          <a:solidFill>
            <a:schemeClr val="accent5"/>
          </a:solidFill>
          <a:ln w="12700" cap="flat" cmpd="sng" algn="ctr">
            <a:noFill/>
            <a:prstDash val="solid"/>
            <a:round/>
            <a:headEnd type="none" w="med" len="med"/>
            <a:tailEnd type="none" w="med" len="med"/>
          </a:ln>
          <a:effectLst/>
        </p:spPr>
        <p:txBody>
          <a:bodyPr/>
          <a:lstStyle/>
          <a:p>
            <a:pPr fontAlgn="auto">
              <a:spcBef>
                <a:spcPts val="0"/>
              </a:spcBef>
              <a:spcAft>
                <a:spcPts val="0"/>
              </a:spcAft>
            </a:pPr>
            <a:endParaRPr lang="de-DE" sz="1800" dirty="0">
              <a:solidFill>
                <a:srgbClr val="003264"/>
              </a:solidFill>
              <a:latin typeface="Calibri"/>
              <a:ea typeface="+mn-ea"/>
            </a:endParaRPr>
          </a:p>
        </p:txBody>
      </p:sp>
      <p:sp>
        <p:nvSpPr>
          <p:cNvPr id="136" name="Pfeil nach rechts 135"/>
          <p:cNvSpPr/>
          <p:nvPr/>
        </p:nvSpPr>
        <p:spPr>
          <a:xfrm>
            <a:off x="342900" y="6031468"/>
            <a:ext cx="8610600" cy="304800"/>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800" dirty="0">
              <a:solidFill>
                <a:srgbClr val="FFFFFF"/>
              </a:solidFill>
              <a:cs typeface="Calibri"/>
            </a:endParaRPr>
          </a:p>
        </p:txBody>
      </p:sp>
    </p:spTree>
    <p:extLst>
      <p:ext uri="{BB962C8B-B14F-4D97-AF65-F5344CB8AC3E}">
        <p14:creationId xmlns:p14="http://schemas.microsoft.com/office/powerpoint/2010/main" val="3922864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8"/>
                                        </p:tgtEl>
                                        <p:attrNameLst>
                                          <p:attrName>style.visibility</p:attrName>
                                        </p:attrNameLst>
                                      </p:cBhvr>
                                      <p:to>
                                        <p:strVal val="visible"/>
                                      </p:to>
                                    </p:set>
                                    <p:animEffect transition="in" filter="blinds(horizontal)">
                                      <p:cBhvr>
                                        <p:cTn id="7" dur="500"/>
                                        <p:tgtEl>
                                          <p:spTgt spid="12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29"/>
                                        </p:tgtEl>
                                        <p:attrNameLst>
                                          <p:attrName>style.visibility</p:attrName>
                                        </p:attrNameLst>
                                      </p:cBhvr>
                                      <p:to>
                                        <p:strVal val="visible"/>
                                      </p:to>
                                    </p:set>
                                    <p:animEffect transition="in" filter="blinds(horizontal)">
                                      <p:cBhvr>
                                        <p:cTn id="12" dur="500"/>
                                        <p:tgtEl>
                                          <p:spTgt spid="12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36"/>
                                        </p:tgtEl>
                                        <p:attrNameLst>
                                          <p:attrName>style.visibility</p:attrName>
                                        </p:attrNameLst>
                                      </p:cBhvr>
                                      <p:to>
                                        <p:strVal val="visible"/>
                                      </p:to>
                                    </p:set>
                                    <p:animEffect transition="in" filter="blinds(horizontal)">
                                      <p:cBhvr>
                                        <p:cTn id="17"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animBg="1"/>
      <p:bldP spid="129" grpId="0" animBg="1"/>
      <p:bldP spid="13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el 1"/>
          <p:cNvSpPr>
            <a:spLocks noGrp="1"/>
          </p:cNvSpPr>
          <p:nvPr>
            <p:ph type="title"/>
          </p:nvPr>
        </p:nvSpPr>
        <p:spPr>
          <a:xfrm>
            <a:off x="304800" y="990600"/>
            <a:ext cx="8382000" cy="685800"/>
          </a:xfrm>
        </p:spPr>
        <p:txBody>
          <a:bodyPr/>
          <a:lstStyle/>
          <a:p>
            <a:r>
              <a:rPr lang="de-DE" altLang="de-DE" dirty="0" smtClean="0">
                <a:latin typeface="Calibri" panose="020F0502020204030204" pitchFamily="34" charset="0"/>
                <a:cs typeface="Calibri" panose="020F0502020204030204" pitchFamily="34" charset="0"/>
              </a:rPr>
              <a:t>Kooperative Unterrichtsentwicklung durch </a:t>
            </a:r>
            <a:br>
              <a:rPr lang="de-DE" altLang="de-DE" dirty="0" smtClean="0">
                <a:latin typeface="Calibri" panose="020F0502020204030204" pitchFamily="34" charset="0"/>
                <a:cs typeface="Calibri" panose="020F0502020204030204" pitchFamily="34" charset="0"/>
              </a:rPr>
            </a:br>
            <a:r>
              <a:rPr lang="de-DE" altLang="de-DE" dirty="0" smtClean="0">
                <a:latin typeface="Calibri" panose="020F0502020204030204" pitchFamily="34" charset="0"/>
                <a:cs typeface="Calibri" panose="020F0502020204030204" pitchFamily="34" charset="0"/>
              </a:rPr>
              <a:t>kollegiale Teams: Warum am Anfang der Fortbildung?</a:t>
            </a:r>
          </a:p>
        </p:txBody>
      </p:sp>
      <p:sp>
        <p:nvSpPr>
          <p:cNvPr id="43011" name="Inhaltsplatzhalter 2"/>
          <p:cNvSpPr>
            <a:spLocks noGrp="1"/>
          </p:cNvSpPr>
          <p:nvPr>
            <p:ph idx="1"/>
          </p:nvPr>
        </p:nvSpPr>
        <p:spPr>
          <a:xfrm>
            <a:off x="381000" y="1905000"/>
            <a:ext cx="8458200" cy="4495800"/>
          </a:xfrm>
        </p:spPr>
        <p:txBody>
          <a:bodyPr/>
          <a:lstStyle/>
          <a:p>
            <a:pPr marL="0" indent="0">
              <a:spcBef>
                <a:spcPct val="0"/>
              </a:spcBef>
            </a:pPr>
            <a:r>
              <a:rPr lang="de-DE" altLang="de-DE" dirty="0" smtClean="0">
                <a:latin typeface="Calibri" panose="020F0502020204030204" pitchFamily="34" charset="0"/>
                <a:cs typeface="Calibri" panose="020F0502020204030204" pitchFamily="34" charset="0"/>
              </a:rPr>
              <a:t>„Eine der Haupt-Botschaften aus </a:t>
            </a:r>
            <a:r>
              <a:rPr lang="de-DE" altLang="de-DE" i="1" dirty="0" smtClean="0">
                <a:latin typeface="Calibri" panose="020F0502020204030204" pitchFamily="34" charset="0"/>
                <a:cs typeface="Calibri" panose="020F0502020204030204" pitchFamily="34" charset="0"/>
              </a:rPr>
              <a:t>Lernen sichtbar machen</a:t>
            </a:r>
            <a:r>
              <a:rPr lang="de-DE" altLang="de-DE" dirty="0" smtClean="0">
                <a:latin typeface="Calibri" panose="020F0502020204030204" pitchFamily="34" charset="0"/>
                <a:cs typeface="Calibri" panose="020F0502020204030204" pitchFamily="34" charset="0"/>
              </a:rPr>
              <a:t> ist der große Lerneffekt bei Lehrpersonen, die sich austauschen und aus gemeinsamen Gesprächen über die Planung lernen – über Lernziele, über Erfolgskriterien, was wertvolles Lernen ist, über Lernfortschritt und darüber, was es bedeutet, in einem Fach „gut zu sein“. </a:t>
            </a:r>
          </a:p>
          <a:p>
            <a:pPr>
              <a:spcBef>
                <a:spcPct val="0"/>
              </a:spcBef>
            </a:pPr>
            <a:r>
              <a:rPr lang="de-DE" altLang="de-DE" sz="1600" dirty="0" smtClean="0">
                <a:latin typeface="Calibri" panose="020F0502020204030204" pitchFamily="34" charset="0"/>
                <a:cs typeface="Calibri" panose="020F0502020204030204" pitchFamily="34" charset="0"/>
              </a:rPr>
              <a:t>(John Hattie: Lernen sichtbar machen für Lehrpersonen. Baltmannsweiler 2014, S. 67)</a:t>
            </a:r>
          </a:p>
        </p:txBody>
      </p:sp>
    </p:spTree>
    <p:extLst>
      <p:ext uri="{BB962C8B-B14F-4D97-AF65-F5344CB8AC3E}">
        <p14:creationId xmlns:p14="http://schemas.microsoft.com/office/powerpoint/2010/main" val="41004521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endParaRPr lang="de-DE" dirty="0"/>
          </a:p>
        </p:txBody>
      </p:sp>
      <p:sp>
        <p:nvSpPr>
          <p:cNvPr id="4" name="Titel 1"/>
          <p:cNvSpPr txBox="1">
            <a:spLocks/>
          </p:cNvSpPr>
          <p:nvPr/>
        </p:nvSpPr>
        <p:spPr bwMode="gray">
          <a:xfrm>
            <a:off x="304800" y="1066800"/>
            <a:ext cx="8382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300" b="1">
                <a:solidFill>
                  <a:schemeClr val="hlink"/>
                </a:solidFill>
                <a:latin typeface="Calibri"/>
                <a:ea typeface="MS PGothic" panose="020B0600070205080204" pitchFamily="34" charset="-128"/>
                <a:cs typeface="Calibri"/>
              </a:defRPr>
            </a:lvl1pPr>
            <a:lvl2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2pPr>
            <a:lvl3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3pPr>
            <a:lvl4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4pPr>
            <a:lvl5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a:lstStyle>
          <a:p>
            <a:r>
              <a:rPr lang="de-DE" kern="0" dirty="0" smtClean="0">
                <a:solidFill>
                  <a:srgbClr val="003264"/>
                </a:solidFill>
              </a:rPr>
              <a:t>Kooperative Unterrichtsentwicklung durch kollegiale Teams: Beziehung zu den anderen Modulen</a:t>
            </a:r>
          </a:p>
        </p:txBody>
      </p:sp>
      <p:sp>
        <p:nvSpPr>
          <p:cNvPr id="5" name="Abgerundetes Rechteck 4"/>
          <p:cNvSpPr>
            <a:spLocks noChangeArrowheads="1"/>
          </p:cNvSpPr>
          <p:nvPr/>
        </p:nvSpPr>
        <p:spPr bwMode="auto">
          <a:xfrm>
            <a:off x="3062513" y="2743200"/>
            <a:ext cx="2953657" cy="2951071"/>
          </a:xfrm>
          <a:prstGeom prst="roundRect">
            <a:avLst>
              <a:gd name="adj" fmla="val 16667"/>
            </a:avLst>
          </a:prstGeom>
          <a:solidFill>
            <a:schemeClr val="accent1"/>
          </a:solidFill>
          <a:ln w="12700" algn="ctr">
            <a:solidFill>
              <a:schemeClr val="accent1"/>
            </a:solidFill>
            <a:round/>
            <a:headEnd/>
            <a:tailEnd/>
          </a:ln>
        </p:spPr>
        <p:txBody>
          <a:bodyPr lIns="0" tIns="0" rIns="0" bIns="0" anchor="ctr"/>
          <a:lstStyle/>
          <a:p>
            <a:pPr algn="ctr"/>
            <a:r>
              <a:rPr lang="de-DE" sz="1800" b="1" dirty="0">
                <a:solidFill>
                  <a:srgbClr val="FFFFFF"/>
                </a:solidFill>
                <a:latin typeface="Calibri"/>
              </a:rPr>
              <a:t>Modul 1: </a:t>
            </a:r>
            <a:r>
              <a:rPr lang="de-DE" sz="1800" b="1" dirty="0" smtClean="0">
                <a:solidFill>
                  <a:srgbClr val="FFFFFF"/>
                </a:solidFill>
                <a:latin typeface="Calibri"/>
              </a:rPr>
              <a:t>Teamentwicklung</a:t>
            </a:r>
          </a:p>
          <a:p>
            <a:pPr algn="ctr" eaLnBrk="1" hangingPunct="1"/>
            <a:r>
              <a:rPr lang="de-DE" sz="1800" dirty="0">
                <a:solidFill>
                  <a:srgbClr val="FFFFFF"/>
                </a:solidFill>
                <a:latin typeface="Calibri"/>
                <a:sym typeface="Helvetica Neue"/>
              </a:rPr>
              <a:t>Was muss ich wissen und können,</a:t>
            </a:r>
            <a:r>
              <a:rPr lang="de-DE" sz="1800" dirty="0" smtClean="0">
                <a:solidFill>
                  <a:srgbClr val="FFFFFF"/>
                </a:solidFill>
                <a:latin typeface="Calibri"/>
                <a:sym typeface="Helvetica Neue"/>
              </a:rPr>
              <a:t> um </a:t>
            </a:r>
            <a:r>
              <a:rPr lang="de-DE" sz="1800" dirty="0">
                <a:solidFill>
                  <a:srgbClr val="FFFFFF"/>
                </a:solidFill>
                <a:latin typeface="Calibri"/>
                <a:sym typeface="Helvetica Neue"/>
              </a:rPr>
              <a:t>in </a:t>
            </a:r>
            <a:r>
              <a:rPr lang="de-DE" sz="1800" dirty="0" smtClean="0">
                <a:solidFill>
                  <a:srgbClr val="FFFFFF"/>
                </a:solidFill>
                <a:latin typeface="Calibri"/>
                <a:sym typeface="Helvetica Neue"/>
              </a:rPr>
              <a:t>einem Team Unterricht </a:t>
            </a:r>
            <a:r>
              <a:rPr lang="de-DE" sz="1800" dirty="0">
                <a:solidFill>
                  <a:srgbClr val="FFFFFF"/>
                </a:solidFill>
                <a:latin typeface="Calibri"/>
                <a:sym typeface="Helvetica Neue"/>
              </a:rPr>
              <a:t>fokussiert auf individuelle Förderung nachhaltig zu entwickeln?</a:t>
            </a:r>
          </a:p>
        </p:txBody>
      </p:sp>
      <p:sp>
        <p:nvSpPr>
          <p:cNvPr id="6" name="Ellipse 5"/>
          <p:cNvSpPr>
            <a:spLocks noChangeArrowheads="1"/>
          </p:cNvSpPr>
          <p:nvPr/>
        </p:nvSpPr>
        <p:spPr bwMode="auto">
          <a:xfrm>
            <a:off x="457200" y="2756338"/>
            <a:ext cx="2819400" cy="2895600"/>
          </a:xfrm>
          <a:prstGeom prst="ellipse">
            <a:avLst/>
          </a:prstGeom>
          <a:solidFill>
            <a:schemeClr val="accent4"/>
          </a:solidFill>
          <a:ln w="12700" algn="ctr">
            <a:noFill/>
            <a:round/>
            <a:headEnd/>
            <a:tailEnd/>
          </a:ln>
        </p:spPr>
        <p:txBody>
          <a:bodyPr lIns="0" tIns="0" rIns="0" bIns="0" anchor="ctr"/>
          <a:lstStyle/>
          <a:p>
            <a:pPr algn="ctr" defTabSz="641350" eaLnBrk="1" hangingPunct="1"/>
            <a:r>
              <a:rPr lang="de-DE" sz="1800" b="1" dirty="0">
                <a:solidFill>
                  <a:srgbClr val="FFFFFF"/>
                </a:solidFill>
                <a:latin typeface="Calibri"/>
                <a:sym typeface="Helvetica Neue"/>
              </a:rPr>
              <a:t>Modul 2:  </a:t>
            </a:r>
            <a:r>
              <a:rPr lang="de-DE" sz="1800" b="1" dirty="0" smtClean="0">
                <a:solidFill>
                  <a:srgbClr val="FFFFFF"/>
                </a:solidFill>
                <a:latin typeface="Calibri"/>
                <a:sym typeface="Helvetica Neue"/>
              </a:rPr>
              <a:t>Diagnostik</a:t>
            </a:r>
          </a:p>
          <a:p>
            <a:pPr algn="ctr" defTabSz="641350" eaLnBrk="1" hangingPunct="1"/>
            <a:r>
              <a:rPr lang="de-DE" sz="1800" dirty="0">
                <a:solidFill>
                  <a:srgbClr val="FFFFFF"/>
                </a:solidFill>
                <a:latin typeface="Calibri"/>
                <a:sym typeface="Helvetica Neue"/>
              </a:rPr>
              <a:t>Wie </a:t>
            </a:r>
            <a:r>
              <a:rPr lang="de-DE" sz="1800" dirty="0" smtClean="0">
                <a:solidFill>
                  <a:srgbClr val="FFFFFF"/>
                </a:solidFill>
                <a:latin typeface="Calibri"/>
                <a:sym typeface="Helvetica Neue"/>
              </a:rPr>
              <a:t>kann das Team Diagnostik </a:t>
            </a:r>
            <a:r>
              <a:rPr lang="de-DE" sz="1800" dirty="0">
                <a:solidFill>
                  <a:srgbClr val="FFFFFF"/>
                </a:solidFill>
                <a:latin typeface="Calibri"/>
                <a:sym typeface="Helvetica Neue"/>
              </a:rPr>
              <a:t>sinnvoll für die Weiterentwicklung des Unterrichts nutzen?</a:t>
            </a:r>
          </a:p>
        </p:txBody>
      </p:sp>
      <p:sp>
        <p:nvSpPr>
          <p:cNvPr id="7" name="Ellipse 6"/>
          <p:cNvSpPr/>
          <p:nvPr/>
        </p:nvSpPr>
        <p:spPr bwMode="auto">
          <a:xfrm>
            <a:off x="5791200" y="2756338"/>
            <a:ext cx="2819400" cy="2895600"/>
          </a:xfrm>
          <a:prstGeom prst="ellipse">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e 3 + 4:  </a:t>
            </a:r>
            <a:r>
              <a:rPr lang="de-DE" sz="1800" b="1" dirty="0" smtClean="0">
                <a:solidFill>
                  <a:srgbClr val="FFFFFF"/>
                </a:solidFill>
                <a:latin typeface="Calibri"/>
                <a:sym typeface="Helvetica Neue" pitchFamily="-123" charset="0"/>
              </a:rPr>
              <a:t>Didaktik</a:t>
            </a:r>
          </a:p>
          <a:p>
            <a:pPr algn="ctr" defTabSz="641350" eaLnBrk="1" hangingPunct="1">
              <a:defRPr/>
            </a:pPr>
            <a:r>
              <a:rPr lang="de-DE" sz="1800" dirty="0">
                <a:solidFill>
                  <a:srgbClr val="FFFFFF"/>
                </a:solidFill>
                <a:latin typeface="Calibri"/>
                <a:sym typeface="Helvetica Neue" pitchFamily="-123" charset="0"/>
              </a:rPr>
              <a:t>Wie kann </a:t>
            </a:r>
            <a:r>
              <a:rPr lang="de-DE" sz="1800" dirty="0" smtClean="0">
                <a:solidFill>
                  <a:srgbClr val="FFFFFF"/>
                </a:solidFill>
                <a:latin typeface="Calibri"/>
                <a:sym typeface="Helvetica Neue" pitchFamily="-123" charset="0"/>
              </a:rPr>
              <a:t>das Team Unterricht </a:t>
            </a:r>
            <a:r>
              <a:rPr lang="de-DE" sz="1800" dirty="0">
                <a:solidFill>
                  <a:srgbClr val="FFFFFF"/>
                </a:solidFill>
                <a:latin typeface="Calibri"/>
                <a:sym typeface="Helvetica Neue" pitchFamily="-123" charset="0"/>
              </a:rPr>
              <a:t>überfachlich und im Fach ganz konkret weiterentwickeln?</a:t>
            </a:r>
          </a:p>
        </p:txBody>
      </p:sp>
    </p:spTree>
    <p:extLst>
      <p:ext uri="{BB962C8B-B14F-4D97-AF65-F5344CB8AC3E}">
        <p14:creationId xmlns:p14="http://schemas.microsoft.com/office/powerpoint/2010/main" val="3060908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Abgerundetes Rechteck 3"/>
          <p:cNvSpPr>
            <a:spLocks noChangeArrowheads="1"/>
          </p:cNvSpPr>
          <p:nvPr/>
        </p:nvSpPr>
        <p:spPr bwMode="auto">
          <a:xfrm>
            <a:off x="381000" y="1981200"/>
            <a:ext cx="8305800" cy="685800"/>
          </a:xfrm>
          <a:prstGeom prst="roundRect">
            <a:avLst>
              <a:gd name="adj" fmla="val 16667"/>
            </a:avLst>
          </a:prstGeom>
          <a:solidFill>
            <a:schemeClr val="accent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endParaRPr lang="de-DE" altLang="de-DE" sz="1800" dirty="0"/>
          </a:p>
        </p:txBody>
      </p:sp>
      <p:sp>
        <p:nvSpPr>
          <p:cNvPr id="51203" name="Rechteck 4"/>
          <p:cNvSpPr>
            <a:spLocks noChangeArrowheads="1"/>
          </p:cNvSpPr>
          <p:nvPr/>
        </p:nvSpPr>
        <p:spPr bwMode="auto">
          <a:xfrm>
            <a:off x="381000" y="1981200"/>
            <a:ext cx="5181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1</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Teamentwicklung im Kollegium</a:t>
            </a:r>
          </a:p>
        </p:txBody>
      </p:sp>
      <p:sp>
        <p:nvSpPr>
          <p:cNvPr id="6" name="Abgerundetes Rechteck 5"/>
          <p:cNvSpPr/>
          <p:nvPr/>
        </p:nvSpPr>
        <p:spPr bwMode="auto">
          <a:xfrm>
            <a:off x="381000" y="2743200"/>
            <a:ext cx="8305800" cy="685800"/>
          </a:xfrm>
          <a:prstGeom prst="roundRect">
            <a:avLst/>
          </a:prstGeom>
          <a:solidFill>
            <a:schemeClr val="accent4"/>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1205" name="Rechteck 6"/>
          <p:cNvSpPr>
            <a:spLocks noChangeArrowheads="1"/>
          </p:cNvSpPr>
          <p:nvPr/>
        </p:nvSpPr>
        <p:spPr bwMode="auto">
          <a:xfrm>
            <a:off x="381000" y="2743200"/>
            <a:ext cx="7239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2 </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Identifizierung von Potenzialen und Interessen/Evaluation (Diagnostik)</a:t>
            </a:r>
          </a:p>
        </p:txBody>
      </p:sp>
      <p:sp>
        <p:nvSpPr>
          <p:cNvPr id="8" name="Abgerundetes Rechteck 7"/>
          <p:cNvSpPr/>
          <p:nvPr/>
        </p:nvSpPr>
        <p:spPr bwMode="auto">
          <a:xfrm>
            <a:off x="381000" y="3505200"/>
            <a:ext cx="8305800" cy="685800"/>
          </a:xfrm>
          <a:prstGeom prst="roundRect">
            <a:avLst/>
          </a:prstGeom>
          <a:solidFill>
            <a:schemeClr val="accent3">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1207" name="Rechteck 8"/>
          <p:cNvSpPr>
            <a:spLocks noChangeArrowheads="1"/>
          </p:cNvSpPr>
          <p:nvPr/>
        </p:nvSpPr>
        <p:spPr bwMode="auto">
          <a:xfrm>
            <a:off x="381000" y="35052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3</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1)</a:t>
            </a:r>
          </a:p>
        </p:txBody>
      </p:sp>
      <p:sp>
        <p:nvSpPr>
          <p:cNvPr id="10" name="Abgerundetes Rechteck 9"/>
          <p:cNvSpPr/>
          <p:nvPr/>
        </p:nvSpPr>
        <p:spPr bwMode="auto">
          <a:xfrm>
            <a:off x="381000" y="4267200"/>
            <a:ext cx="8305800" cy="685800"/>
          </a:xfrm>
          <a:prstGeom prst="roundRect">
            <a:avLst/>
          </a:prstGeom>
          <a:solidFill>
            <a:schemeClr val="accent3">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1209" name="Rechteck 11"/>
          <p:cNvSpPr>
            <a:spLocks noChangeArrowheads="1"/>
          </p:cNvSpPr>
          <p:nvPr/>
        </p:nvSpPr>
        <p:spPr bwMode="auto">
          <a:xfrm>
            <a:off x="381000" y="42672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4</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2)</a:t>
            </a:r>
          </a:p>
        </p:txBody>
      </p:sp>
    </p:spTree>
    <p:extLst>
      <p:ext uri="{BB962C8B-B14F-4D97-AF65-F5344CB8AC3E}">
        <p14:creationId xmlns:p14="http://schemas.microsoft.com/office/powerpoint/2010/main" val="33388179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el 1"/>
          <p:cNvSpPr>
            <a:spLocks noGrp="1"/>
          </p:cNvSpPr>
          <p:nvPr>
            <p:ph type="title"/>
          </p:nvPr>
        </p:nvSpPr>
        <p:spPr>
          <a:xfrm>
            <a:off x="304800" y="762000"/>
            <a:ext cx="8382000" cy="685800"/>
          </a:xfrm>
        </p:spPr>
        <p:txBody>
          <a:bodyPr/>
          <a:lstStyle/>
          <a:p>
            <a:r>
              <a:rPr lang="de-DE" altLang="de-DE" sz="2400" dirty="0" smtClean="0">
                <a:solidFill>
                  <a:schemeClr val="tx1"/>
                </a:solidFill>
                <a:latin typeface="Calibri" panose="020F0502020204030204" pitchFamily="34" charset="0"/>
                <a:cs typeface="Calibri" panose="020F0502020204030204" pitchFamily="34" charset="0"/>
              </a:rPr>
              <a:t>Modul 2: Identifizierung von Potenzialen und Interessen/Evaluation (Diagnostik)</a:t>
            </a:r>
            <a:r>
              <a:rPr lang="de-DE" altLang="de-DE" sz="2400" dirty="0" smtClean="0">
                <a:solidFill>
                  <a:srgbClr val="003264"/>
                </a:solidFill>
                <a:latin typeface="Calibri" panose="020F0502020204030204" pitchFamily="34" charset="0"/>
                <a:cs typeface="Calibri" panose="020F0502020204030204" pitchFamily="34" charset="0"/>
              </a:rPr>
              <a:t/>
            </a:r>
            <a:br>
              <a:rPr lang="de-DE" altLang="de-DE" sz="2400" dirty="0" smtClean="0">
                <a:solidFill>
                  <a:srgbClr val="003264"/>
                </a:solidFill>
                <a:latin typeface="Calibri" panose="020F0502020204030204" pitchFamily="34" charset="0"/>
                <a:cs typeface="Calibri" panose="020F0502020204030204" pitchFamily="34" charset="0"/>
              </a:rPr>
            </a:br>
            <a:endParaRPr lang="de-DE" altLang="de-DE" dirty="0" smtClean="0">
              <a:solidFill>
                <a:srgbClr val="003264"/>
              </a:solidFill>
              <a:latin typeface="Calibri" panose="020F0502020204030204" pitchFamily="34" charset="0"/>
              <a:cs typeface="Calibri" panose="020F0502020204030204" pitchFamily="34" charset="0"/>
            </a:endParaRPr>
          </a:p>
        </p:txBody>
      </p:sp>
      <p:graphicFrame>
        <p:nvGraphicFramePr>
          <p:cNvPr id="4" name="Inhaltsplatzhalter 3"/>
          <p:cNvGraphicFramePr>
            <a:graphicFrameLocks noGrp="1"/>
          </p:cNvGraphicFramePr>
          <p:nvPr>
            <p:ph idx="1"/>
            <p:extLst>
              <p:ext uri="{D42A27DB-BD31-4B8C-83A1-F6EECF244321}">
                <p14:modId xmlns:p14="http://schemas.microsoft.com/office/powerpoint/2010/main" val="4202481984"/>
              </p:ext>
            </p:extLst>
          </p:nvPr>
        </p:nvGraphicFramePr>
        <p:xfrm>
          <a:off x="0" y="1600200"/>
          <a:ext cx="91440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Ellipse 5"/>
          <p:cNvSpPr/>
          <p:nvPr/>
        </p:nvSpPr>
        <p:spPr>
          <a:xfrm>
            <a:off x="6629400" y="2514600"/>
            <a:ext cx="609600" cy="609600"/>
          </a:xfrm>
          <a:prstGeom prst="ellipse">
            <a:avLst/>
          </a:prstGeom>
          <a:solidFill>
            <a:schemeClr val="accent4"/>
          </a:solidFill>
          <a:ln>
            <a:solidFill>
              <a:schemeClr val="bg1"/>
            </a:solidFill>
          </a:ln>
        </p:spPr>
        <p:style>
          <a:lnRef idx="2">
            <a:schemeClr val="accent5"/>
          </a:lnRef>
          <a:fillRef idx="1">
            <a:schemeClr val="lt1"/>
          </a:fillRef>
          <a:effectRef idx="0">
            <a:schemeClr val="accent5"/>
          </a:effectRef>
          <a:fontRef idx="minor">
            <a:schemeClr val="dk1"/>
          </a:fontRef>
        </p:style>
      </p:sp>
      <p:sp>
        <p:nvSpPr>
          <p:cNvPr id="52229" name="Textfeld 6"/>
          <p:cNvSpPr txBox="1">
            <a:spLocks noChangeArrowheads="1"/>
          </p:cNvSpPr>
          <p:nvPr/>
        </p:nvSpPr>
        <p:spPr bwMode="auto">
          <a:xfrm>
            <a:off x="3352800" y="3886200"/>
            <a:ext cx="23622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800" b="1" dirty="0">
                <a:solidFill>
                  <a:srgbClr val="003264"/>
                </a:solidFill>
                <a:latin typeface="Calibri" panose="020F0502020204030204" pitchFamily="34" charset="0"/>
              </a:rPr>
              <a:t>Baustein 3:</a:t>
            </a:r>
            <a:r>
              <a:rPr lang="de-DE" altLang="de-DE" sz="1800" dirty="0">
                <a:solidFill>
                  <a:srgbClr val="003264"/>
                </a:solidFill>
                <a:latin typeface="Calibri" panose="020F0502020204030204" pitchFamily="34" charset="0"/>
              </a:rPr>
              <a:t/>
            </a:r>
            <a:br>
              <a:rPr lang="de-DE" altLang="de-DE" sz="1800" dirty="0">
                <a:solidFill>
                  <a:srgbClr val="003264"/>
                </a:solidFill>
                <a:latin typeface="Calibri" panose="020F0502020204030204" pitchFamily="34" charset="0"/>
              </a:rPr>
            </a:br>
            <a:r>
              <a:rPr lang="de-DE" sz="1800" dirty="0">
                <a:solidFill>
                  <a:srgbClr val="003264"/>
                </a:solidFill>
                <a:latin typeface="Calibri" pitchFamily="34" charset="0"/>
              </a:rPr>
              <a:t>Grundmethoden der Diagnostik unterscheiden</a:t>
            </a:r>
            <a:r>
              <a:rPr lang="de-DE" altLang="de-DE" sz="1800" dirty="0">
                <a:solidFill>
                  <a:srgbClr val="003264"/>
                </a:solidFill>
              </a:rPr>
              <a:t>, </a:t>
            </a:r>
            <a:r>
              <a:rPr lang="de-DE" altLang="de-DE" sz="1800" dirty="0" smtClean="0">
                <a:solidFill>
                  <a:srgbClr val="003264"/>
                </a:solidFill>
                <a:latin typeface="+mn-lt"/>
              </a:rPr>
              <a:t>Diagnoseinstrumente </a:t>
            </a:r>
            <a:r>
              <a:rPr lang="de-DE" altLang="de-DE" sz="1800" dirty="0">
                <a:solidFill>
                  <a:srgbClr val="003264"/>
                </a:solidFill>
                <a:latin typeface="+mn-lt"/>
              </a:rPr>
              <a:t>entwickeln und anwenden, auch in den Fächern</a:t>
            </a:r>
          </a:p>
        </p:txBody>
      </p:sp>
    </p:spTree>
    <p:extLst>
      <p:ext uri="{BB962C8B-B14F-4D97-AF65-F5344CB8AC3E}">
        <p14:creationId xmlns:p14="http://schemas.microsoft.com/office/powerpoint/2010/main" val="7154792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txBox="1">
            <a:spLocks/>
          </p:cNvSpPr>
          <p:nvPr/>
        </p:nvSpPr>
        <p:spPr>
          <a:xfrm>
            <a:off x="304800" y="1066800"/>
            <a:ext cx="8382000" cy="685800"/>
          </a:xfrm>
          <a:prstGeom prst="rect">
            <a:avLst/>
          </a:prstGeom>
        </p:spPr>
        <p:txBody>
          <a:bodyPr/>
          <a:lstStyle>
            <a:lvl1pPr algn="l" rtl="0" eaLnBrk="0" fontAlgn="base" hangingPunct="0">
              <a:spcBef>
                <a:spcPct val="0"/>
              </a:spcBef>
              <a:spcAft>
                <a:spcPct val="0"/>
              </a:spcAft>
              <a:defRPr sz="2300" b="1">
                <a:solidFill>
                  <a:schemeClr val="hlink"/>
                </a:solidFill>
                <a:latin typeface="Calibri"/>
                <a:ea typeface="MS PGothic" panose="020B0600070205080204" pitchFamily="34" charset="-128"/>
                <a:cs typeface="Calibri"/>
              </a:defRPr>
            </a:lvl1pPr>
            <a:lvl2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2pPr>
            <a:lvl3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3pPr>
            <a:lvl4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4pPr>
            <a:lvl5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a:lstStyle>
          <a:p>
            <a:r>
              <a:rPr lang="de-DE" kern="0" dirty="0" smtClean="0">
                <a:solidFill>
                  <a:srgbClr val="003264"/>
                </a:solidFill>
              </a:rPr>
              <a:t>Identifizierung von Potenzialen und Interessen/Evaluation: Beziehung zu den anderen Modulen</a:t>
            </a:r>
          </a:p>
        </p:txBody>
      </p:sp>
      <p:sp>
        <p:nvSpPr>
          <p:cNvPr id="3" name="Abgerundetes Rechteck 2"/>
          <p:cNvSpPr/>
          <p:nvPr/>
        </p:nvSpPr>
        <p:spPr bwMode="auto">
          <a:xfrm>
            <a:off x="2971800" y="2729892"/>
            <a:ext cx="3132729" cy="2971341"/>
          </a:xfrm>
          <a:prstGeom prst="roundRect">
            <a:avLst/>
          </a:prstGeom>
          <a:solidFill>
            <a:schemeClr val="accent4"/>
          </a:solidFill>
          <a:ln w="12700" cap="flat" cmpd="sng" algn="ctr">
            <a:noFill/>
            <a:prstDash val="solid"/>
            <a:round/>
            <a:headEnd type="none" w="med" len="med"/>
            <a:tailEnd type="none" w="med" len="med"/>
          </a:ln>
          <a:effectLst/>
        </p:spPr>
        <p:txBody>
          <a:bodyPr lIns="0" tIns="0" rIns="0" bIns="0" anchor="ctr"/>
          <a:lstStyle/>
          <a:p>
            <a:pPr algn="ctr">
              <a:defRPr/>
            </a:pPr>
            <a:r>
              <a:rPr lang="de-DE" sz="1800" b="1" dirty="0">
                <a:solidFill>
                  <a:srgbClr val="FFFFFF"/>
                </a:solidFill>
                <a:latin typeface="Calibri"/>
              </a:rPr>
              <a:t>Modul 2: </a:t>
            </a:r>
            <a:r>
              <a:rPr lang="de-DE" sz="1800" b="1" dirty="0" smtClean="0">
                <a:solidFill>
                  <a:srgbClr val="FFFFFF"/>
                </a:solidFill>
                <a:latin typeface="Calibri"/>
              </a:rPr>
              <a:t>Diagnostik</a:t>
            </a:r>
          </a:p>
          <a:p>
            <a:pPr algn="ctr" eaLnBrk="1" hangingPunct="1">
              <a:defRPr/>
            </a:pPr>
            <a:r>
              <a:rPr lang="de-DE" sz="1800" dirty="0">
                <a:solidFill>
                  <a:srgbClr val="FFFFFF"/>
                </a:solidFill>
                <a:latin typeface="Calibri"/>
                <a:ea typeface="Helvetica Neue"/>
                <a:cs typeface="Helvetica Neue"/>
                <a:sym typeface="Helvetica Neue"/>
              </a:rPr>
              <a:t>Was muss ich wissen und </a:t>
            </a:r>
            <a:br>
              <a:rPr lang="de-DE" sz="1800" dirty="0">
                <a:solidFill>
                  <a:srgbClr val="FFFFFF"/>
                </a:solidFill>
                <a:latin typeface="Calibri"/>
                <a:ea typeface="Helvetica Neue"/>
                <a:cs typeface="Helvetica Neue"/>
                <a:sym typeface="Helvetica Neue"/>
              </a:rPr>
            </a:br>
            <a:r>
              <a:rPr lang="de-DE" sz="1800" dirty="0">
                <a:solidFill>
                  <a:srgbClr val="FFFFFF"/>
                </a:solidFill>
                <a:latin typeface="Calibri"/>
                <a:ea typeface="Helvetica Neue"/>
                <a:cs typeface="Helvetica Neue"/>
                <a:sym typeface="Helvetica Neue"/>
              </a:rPr>
              <a:t>tun, damit </a:t>
            </a:r>
            <a:r>
              <a:rPr lang="de-DE" sz="1800" dirty="0" smtClean="0">
                <a:solidFill>
                  <a:srgbClr val="FFFFFF"/>
                </a:solidFill>
                <a:latin typeface="Calibri"/>
                <a:ea typeface="Helvetica Neue"/>
                <a:cs typeface="Helvetica Neue"/>
                <a:sym typeface="Helvetica Neue"/>
              </a:rPr>
              <a:t>Schüler/innen </a:t>
            </a:r>
            <a:r>
              <a:rPr lang="de-DE" sz="1800" dirty="0">
                <a:solidFill>
                  <a:srgbClr val="FFFFFF"/>
                </a:solidFill>
                <a:latin typeface="Calibri"/>
                <a:ea typeface="Helvetica Neue"/>
                <a:cs typeface="Helvetica Neue"/>
                <a:sym typeface="Helvetica Neue"/>
              </a:rPr>
              <a:t/>
            </a:r>
            <a:br>
              <a:rPr lang="de-DE" sz="1800" dirty="0">
                <a:solidFill>
                  <a:srgbClr val="FFFFFF"/>
                </a:solidFill>
                <a:latin typeface="Calibri"/>
                <a:ea typeface="Helvetica Neue"/>
                <a:cs typeface="Helvetica Neue"/>
                <a:sym typeface="Helvetica Neue"/>
              </a:rPr>
            </a:br>
            <a:r>
              <a:rPr lang="de-DE" sz="1800" dirty="0">
                <a:solidFill>
                  <a:srgbClr val="FFFFFF"/>
                </a:solidFill>
                <a:latin typeface="Calibri"/>
                <a:ea typeface="Helvetica Neue"/>
                <a:cs typeface="Helvetica Neue"/>
                <a:sym typeface="Helvetica Neue"/>
              </a:rPr>
              <a:t>ihren Potenzialen gemäß erfolgreich lernen können? </a:t>
            </a:r>
          </a:p>
        </p:txBody>
      </p:sp>
      <p:sp>
        <p:nvSpPr>
          <p:cNvPr id="4" name="Ellipse 3"/>
          <p:cNvSpPr/>
          <p:nvPr/>
        </p:nvSpPr>
        <p:spPr bwMode="auto">
          <a:xfrm>
            <a:off x="304800" y="2740539"/>
            <a:ext cx="2993258" cy="2926827"/>
          </a:xfrm>
          <a:prstGeom prst="ellipse">
            <a:avLst/>
          </a:prstGeom>
          <a:solidFill>
            <a:schemeClr val="accent1"/>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 1:  </a:t>
            </a:r>
            <a:r>
              <a:rPr lang="de-DE" sz="1800" b="1" dirty="0" smtClean="0">
                <a:solidFill>
                  <a:srgbClr val="FFFFFF"/>
                </a:solidFill>
                <a:latin typeface="Calibri"/>
                <a:sym typeface="Helvetica Neue" pitchFamily="-123" charset="0"/>
              </a:rPr>
              <a:t>Teamentwicklung</a:t>
            </a:r>
          </a:p>
          <a:p>
            <a:pPr algn="ctr" defTabSz="641350" eaLnBrk="1" hangingPunct="1">
              <a:defRPr/>
            </a:pPr>
            <a:r>
              <a:rPr lang="de-DE" sz="1800" dirty="0">
                <a:solidFill>
                  <a:srgbClr val="FFFFFF"/>
                </a:solidFill>
                <a:latin typeface="Calibri"/>
                <a:ea typeface="Helvetica Neue"/>
                <a:cs typeface="Helvetica Neue"/>
                <a:sym typeface="Helvetica Neue"/>
              </a:rPr>
              <a:t>Wer hilft mir dabei? </a:t>
            </a:r>
          </a:p>
        </p:txBody>
      </p:sp>
      <p:sp>
        <p:nvSpPr>
          <p:cNvPr id="5" name="Ellipse 4"/>
          <p:cNvSpPr/>
          <p:nvPr/>
        </p:nvSpPr>
        <p:spPr bwMode="auto">
          <a:xfrm>
            <a:off x="5867399" y="2743200"/>
            <a:ext cx="2971801" cy="2915699"/>
          </a:xfrm>
          <a:prstGeom prst="ellipse">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e 3 + 4:  </a:t>
            </a:r>
            <a:r>
              <a:rPr lang="de-DE" sz="1800" b="1" dirty="0" smtClean="0">
                <a:solidFill>
                  <a:srgbClr val="FFFFFF"/>
                </a:solidFill>
                <a:latin typeface="Calibri"/>
                <a:sym typeface="Helvetica Neue" pitchFamily="-123" charset="0"/>
              </a:rPr>
              <a:t>Didaktik</a:t>
            </a:r>
          </a:p>
          <a:p>
            <a:pPr algn="ctr" defTabSz="641350" eaLnBrk="1" hangingPunct="1">
              <a:defRPr/>
            </a:pPr>
            <a:r>
              <a:rPr lang="de-DE" sz="1800" dirty="0">
                <a:solidFill>
                  <a:srgbClr val="FFFFFF"/>
                </a:solidFill>
                <a:latin typeface="Calibri"/>
                <a:sym typeface="Helvetica Neue" pitchFamily="-123" charset="0"/>
              </a:rPr>
              <a:t>Wie erreiche ich das im Unterricht?</a:t>
            </a:r>
          </a:p>
        </p:txBody>
      </p:sp>
    </p:spTree>
    <p:extLst>
      <p:ext uri="{BB962C8B-B14F-4D97-AF65-F5344CB8AC3E}">
        <p14:creationId xmlns:p14="http://schemas.microsoft.com/office/powerpoint/2010/main" val="187116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Abgerundetes Rechteck 3"/>
          <p:cNvSpPr>
            <a:spLocks noChangeArrowheads="1"/>
          </p:cNvSpPr>
          <p:nvPr/>
        </p:nvSpPr>
        <p:spPr bwMode="auto">
          <a:xfrm>
            <a:off x="381000" y="1981200"/>
            <a:ext cx="8305800" cy="685800"/>
          </a:xfrm>
          <a:prstGeom prst="roundRect">
            <a:avLst>
              <a:gd name="adj" fmla="val 16667"/>
            </a:avLst>
          </a:prstGeom>
          <a:solidFill>
            <a:schemeClr val="accent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endParaRPr lang="de-DE" altLang="de-DE" sz="1800" dirty="0"/>
          </a:p>
        </p:txBody>
      </p:sp>
      <p:sp>
        <p:nvSpPr>
          <p:cNvPr id="54275" name="Rechteck 4"/>
          <p:cNvSpPr>
            <a:spLocks noChangeArrowheads="1"/>
          </p:cNvSpPr>
          <p:nvPr/>
        </p:nvSpPr>
        <p:spPr bwMode="auto">
          <a:xfrm>
            <a:off x="381000" y="1981200"/>
            <a:ext cx="5181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1</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Teamentwicklung im Kollegium</a:t>
            </a:r>
          </a:p>
        </p:txBody>
      </p:sp>
      <p:sp>
        <p:nvSpPr>
          <p:cNvPr id="6" name="Abgerundetes Rechteck 5"/>
          <p:cNvSpPr/>
          <p:nvPr/>
        </p:nvSpPr>
        <p:spPr bwMode="auto">
          <a:xfrm>
            <a:off x="381000" y="2743200"/>
            <a:ext cx="8305800" cy="685800"/>
          </a:xfrm>
          <a:prstGeom prst="roundRect">
            <a:avLst/>
          </a:prstGeom>
          <a:solidFill>
            <a:schemeClr val="accent4">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4277" name="Rechteck 6"/>
          <p:cNvSpPr>
            <a:spLocks noChangeArrowheads="1"/>
          </p:cNvSpPr>
          <p:nvPr/>
        </p:nvSpPr>
        <p:spPr bwMode="auto">
          <a:xfrm>
            <a:off x="381000" y="2743200"/>
            <a:ext cx="7239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2 </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Identifizierung von Potenzialen und Interessen/Evaluation (Diagnostik)</a:t>
            </a:r>
          </a:p>
        </p:txBody>
      </p:sp>
      <p:sp>
        <p:nvSpPr>
          <p:cNvPr id="8" name="Abgerundetes Rechteck 7"/>
          <p:cNvSpPr/>
          <p:nvPr/>
        </p:nvSpPr>
        <p:spPr bwMode="auto">
          <a:xfrm>
            <a:off x="381000" y="3505200"/>
            <a:ext cx="8305800" cy="685800"/>
          </a:xfrm>
          <a:prstGeom prst="roundRect">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4279" name="Rechteck 8"/>
          <p:cNvSpPr>
            <a:spLocks noChangeArrowheads="1"/>
          </p:cNvSpPr>
          <p:nvPr/>
        </p:nvSpPr>
        <p:spPr bwMode="auto">
          <a:xfrm>
            <a:off x="381000" y="35052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3</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1)</a:t>
            </a:r>
          </a:p>
        </p:txBody>
      </p:sp>
      <p:sp>
        <p:nvSpPr>
          <p:cNvPr id="10" name="Abgerundetes Rechteck 9"/>
          <p:cNvSpPr/>
          <p:nvPr/>
        </p:nvSpPr>
        <p:spPr bwMode="auto">
          <a:xfrm>
            <a:off x="381000" y="4267200"/>
            <a:ext cx="8305800" cy="685800"/>
          </a:xfrm>
          <a:prstGeom prst="roundRect">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54281" name="Rechteck 11"/>
          <p:cNvSpPr>
            <a:spLocks noChangeArrowheads="1"/>
          </p:cNvSpPr>
          <p:nvPr/>
        </p:nvSpPr>
        <p:spPr bwMode="auto">
          <a:xfrm>
            <a:off x="381000" y="42672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4</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2)</a:t>
            </a:r>
          </a:p>
        </p:txBody>
      </p:sp>
    </p:spTree>
    <p:extLst>
      <p:ext uri="{BB962C8B-B14F-4D97-AF65-F5344CB8AC3E}">
        <p14:creationId xmlns:p14="http://schemas.microsoft.com/office/powerpoint/2010/main" val="1102554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304800" y="1066800"/>
            <a:ext cx="8382000" cy="685800"/>
          </a:xfrm>
        </p:spPr>
        <p:txBody>
          <a:bodyPr/>
          <a:lstStyle/>
          <a:p>
            <a:r>
              <a:rPr lang="de-DE" dirty="0" smtClean="0">
                <a:solidFill>
                  <a:srgbClr val="003264"/>
                </a:solidFill>
              </a:rPr>
              <a:t>Modul 3: </a:t>
            </a:r>
            <a:r>
              <a:rPr lang="de-DE" sz="2400" dirty="0" smtClean="0">
                <a:solidFill>
                  <a:srgbClr val="003264"/>
                </a:solidFill>
              </a:rPr>
              <a:t>Lernen und Lehren: Potenziale fördern und kompetenzorientiert unterrichten I</a:t>
            </a:r>
            <a:br>
              <a:rPr lang="de-DE" sz="2400" dirty="0" smtClean="0">
                <a:solidFill>
                  <a:srgbClr val="003264"/>
                </a:solidFill>
              </a:rPr>
            </a:br>
            <a:endParaRPr lang="de-DE" dirty="0">
              <a:solidFill>
                <a:srgbClr val="003264"/>
              </a:solidFill>
            </a:endParaRPr>
          </a:p>
        </p:txBody>
      </p:sp>
      <p:graphicFrame>
        <p:nvGraphicFramePr>
          <p:cNvPr id="5" name="Inhaltsplatzhalter 3"/>
          <p:cNvGraphicFramePr>
            <a:graphicFrameLocks noGrp="1"/>
          </p:cNvGraphicFramePr>
          <p:nvPr>
            <p:ph idx="1"/>
          </p:nvPr>
        </p:nvGraphicFramePr>
        <p:xfrm>
          <a:off x="0" y="1981200"/>
          <a:ext cx="94488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Ellipse 5"/>
          <p:cNvSpPr/>
          <p:nvPr/>
        </p:nvSpPr>
        <p:spPr>
          <a:xfrm>
            <a:off x="6588224" y="2895600"/>
            <a:ext cx="609600" cy="609600"/>
          </a:xfrm>
          <a:prstGeom prst="ellipse">
            <a:avLst/>
          </a:prstGeom>
          <a:solidFill>
            <a:schemeClr val="accent3">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181861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dul 4: Lernen und Lehren: Potenziale fördern und kompetenzorientiert unterrichten II</a:t>
            </a:r>
            <a:endParaRPr lang="de-DE" dirty="0"/>
          </a:p>
        </p:txBody>
      </p:sp>
      <p:graphicFrame>
        <p:nvGraphicFramePr>
          <p:cNvPr id="4" name="Inhaltsplatzhalter 3"/>
          <p:cNvGraphicFramePr>
            <a:graphicFrameLocks noGrp="1"/>
          </p:cNvGraphicFramePr>
          <p:nvPr>
            <p:ph idx="1"/>
          </p:nvPr>
        </p:nvGraphicFramePr>
        <p:xfrm>
          <a:off x="0" y="1961728"/>
          <a:ext cx="9001156"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226135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10"/>
          <p:cNvSpPr txBox="1">
            <a:spLocks/>
          </p:cNvSpPr>
          <p:nvPr/>
        </p:nvSpPr>
        <p:spPr bwMode="gray">
          <a:xfrm>
            <a:off x="304800" y="4961384"/>
            <a:ext cx="8458200" cy="685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90500" indent="-190500" eaLnBrk="0" hangingPunct="0">
              <a:spcBef>
                <a:spcPts val="1200"/>
              </a:spcBef>
              <a:spcAft>
                <a:spcPts val="900"/>
              </a:spcAft>
              <a:buClr>
                <a:srgbClr val="003264"/>
              </a:buClr>
              <a:defRPr/>
            </a:pPr>
            <a:endParaRPr lang="de-DE" sz="1800" kern="0" dirty="0">
              <a:solidFill>
                <a:srgbClr val="003264"/>
              </a:solidFill>
              <a:latin typeface="Calibri"/>
              <a:ea typeface="+mn-ea"/>
              <a:cs typeface="Calibri"/>
            </a:endParaRPr>
          </a:p>
        </p:txBody>
      </p:sp>
      <p:sp>
        <p:nvSpPr>
          <p:cNvPr id="7" name="Titel 8"/>
          <p:cNvSpPr txBox="1">
            <a:spLocks/>
          </p:cNvSpPr>
          <p:nvPr/>
        </p:nvSpPr>
        <p:spPr bwMode="gray">
          <a:xfrm>
            <a:off x="228600" y="2294384"/>
            <a:ext cx="8610600" cy="320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eaLnBrk="0" hangingPunct="0">
              <a:defRPr/>
            </a:pPr>
            <a:r>
              <a:rPr lang="de-DE" sz="6000" b="1" kern="0" dirty="0">
                <a:solidFill>
                  <a:srgbClr val="003264"/>
                </a:solidFill>
                <a:latin typeface="Calibri"/>
                <a:ea typeface="+mn-ea"/>
                <a:cs typeface="Calibri"/>
              </a:rPr>
              <a:t/>
            </a:r>
            <a:br>
              <a:rPr lang="de-DE" sz="6000" b="1" kern="0" dirty="0">
                <a:solidFill>
                  <a:srgbClr val="003264"/>
                </a:solidFill>
                <a:latin typeface="Calibri"/>
                <a:ea typeface="+mn-ea"/>
                <a:cs typeface="Calibri"/>
              </a:rPr>
            </a:br>
            <a:r>
              <a:rPr lang="de-DE" sz="2800" b="1" kern="0" dirty="0">
                <a:solidFill>
                  <a:srgbClr val="003264"/>
                </a:solidFill>
                <a:latin typeface="Calibri"/>
                <a:ea typeface="+mn-ea"/>
                <a:cs typeface="Calibri"/>
              </a:rPr>
              <a:t/>
            </a:r>
            <a:br>
              <a:rPr lang="de-DE" sz="2800" b="1" kern="0" dirty="0">
                <a:solidFill>
                  <a:srgbClr val="003264"/>
                </a:solidFill>
                <a:latin typeface="Calibri"/>
                <a:ea typeface="+mn-ea"/>
                <a:cs typeface="Calibri"/>
              </a:rPr>
            </a:br>
            <a:endParaRPr lang="de-DE" sz="2800" b="1" kern="0" dirty="0">
              <a:solidFill>
                <a:srgbClr val="003264"/>
              </a:solidFill>
              <a:latin typeface="Calibri"/>
              <a:ea typeface="+mn-ea"/>
              <a:cs typeface="Calibri"/>
            </a:endParaRPr>
          </a:p>
        </p:txBody>
      </p:sp>
      <p:sp>
        <p:nvSpPr>
          <p:cNvPr id="8" name="Textfeld 7"/>
          <p:cNvSpPr txBox="1"/>
          <p:nvPr/>
        </p:nvSpPr>
        <p:spPr>
          <a:xfrm>
            <a:off x="230088" y="1052736"/>
            <a:ext cx="6934200" cy="1123384"/>
          </a:xfrm>
          <a:prstGeom prst="rect">
            <a:avLst/>
          </a:prstGeom>
          <a:noFill/>
        </p:spPr>
        <p:txBody>
          <a:bodyPr wrap="square" rtlCol="0">
            <a:spAutoFit/>
          </a:bodyPr>
          <a:lstStyle/>
          <a:p>
            <a:pPr fontAlgn="auto">
              <a:spcBef>
                <a:spcPts val="0"/>
              </a:spcBef>
              <a:spcAft>
                <a:spcPts val="0"/>
              </a:spcAft>
            </a:pPr>
            <a:r>
              <a:rPr lang="de-DE" sz="2300" b="1" dirty="0">
                <a:solidFill>
                  <a:srgbClr val="003264"/>
                </a:solidFill>
                <a:latin typeface="Calibri"/>
                <a:ea typeface="+mn-ea"/>
              </a:rPr>
              <a:t>Ausblick auf die Bausteine des Moduls 4: Didaktik</a:t>
            </a:r>
          </a:p>
          <a:p>
            <a:pPr fontAlgn="auto">
              <a:spcBef>
                <a:spcPts val="0"/>
              </a:spcBef>
              <a:spcAft>
                <a:spcPts val="0"/>
              </a:spcAft>
            </a:pPr>
            <a:endParaRPr lang="de-DE" sz="1600" b="1" dirty="0">
              <a:solidFill>
                <a:srgbClr val="003264"/>
              </a:solidFill>
              <a:latin typeface="Calibri"/>
              <a:ea typeface="+mn-ea"/>
            </a:endParaRPr>
          </a:p>
          <a:p>
            <a:pPr algn="ctr" fontAlgn="auto">
              <a:spcBef>
                <a:spcPts val="0"/>
              </a:spcBef>
              <a:spcAft>
                <a:spcPts val="0"/>
              </a:spcAft>
            </a:pPr>
            <a:endParaRPr lang="de-DE" sz="1000" dirty="0">
              <a:solidFill>
                <a:srgbClr val="003264"/>
              </a:solidFill>
              <a:latin typeface="Calibri"/>
              <a:ea typeface="+mn-ea"/>
            </a:endParaRPr>
          </a:p>
          <a:p>
            <a:pPr fontAlgn="auto">
              <a:spcBef>
                <a:spcPts val="0"/>
              </a:spcBef>
              <a:spcAft>
                <a:spcPts val="0"/>
              </a:spcAft>
            </a:pPr>
            <a:r>
              <a:rPr lang="de-DE" sz="1800" b="1" dirty="0">
                <a:solidFill>
                  <a:srgbClr val="003264"/>
                </a:solidFill>
                <a:latin typeface="Calibri"/>
                <a:ea typeface="+mn-ea"/>
              </a:rPr>
              <a:t>Erfolgreiches Individuelles Lernen braucht …</a:t>
            </a:r>
          </a:p>
        </p:txBody>
      </p:sp>
      <p:sp>
        <p:nvSpPr>
          <p:cNvPr id="9" name="Textfeld 8"/>
          <p:cNvSpPr txBox="1"/>
          <p:nvPr/>
        </p:nvSpPr>
        <p:spPr>
          <a:xfrm>
            <a:off x="680039" y="2446784"/>
            <a:ext cx="2457532" cy="923330"/>
          </a:xfrm>
          <a:prstGeom prst="rect">
            <a:avLst/>
          </a:prstGeom>
          <a:noFill/>
        </p:spPr>
        <p:txBody>
          <a:bodyPr wrap="none" rtlCol="0">
            <a:spAutoFit/>
          </a:bodyPr>
          <a:lstStyle/>
          <a:p>
            <a:pPr algn="ctr" fontAlgn="auto">
              <a:spcBef>
                <a:spcPts val="0"/>
              </a:spcBef>
              <a:spcAft>
                <a:spcPts val="0"/>
              </a:spcAft>
            </a:pPr>
            <a:r>
              <a:rPr lang="de-DE" sz="1800" dirty="0">
                <a:solidFill>
                  <a:srgbClr val="003264"/>
                </a:solidFill>
                <a:latin typeface="Calibri"/>
                <a:ea typeface="+mn-ea"/>
              </a:rPr>
              <a:t>differenzierten Umgang </a:t>
            </a:r>
          </a:p>
          <a:p>
            <a:pPr algn="ctr" fontAlgn="auto">
              <a:spcBef>
                <a:spcPts val="0"/>
              </a:spcBef>
              <a:spcAft>
                <a:spcPts val="0"/>
              </a:spcAft>
            </a:pPr>
            <a:r>
              <a:rPr lang="de-DE" sz="1800" dirty="0">
                <a:solidFill>
                  <a:srgbClr val="003264"/>
                </a:solidFill>
                <a:latin typeface="Calibri"/>
                <a:ea typeface="+mn-ea"/>
              </a:rPr>
              <a:t>mit Lernprozessen und </a:t>
            </a:r>
          </a:p>
          <a:p>
            <a:pPr algn="ctr" fontAlgn="auto">
              <a:spcBef>
                <a:spcPts val="0"/>
              </a:spcBef>
              <a:spcAft>
                <a:spcPts val="0"/>
              </a:spcAft>
            </a:pPr>
            <a:r>
              <a:rPr lang="de-DE" sz="1800" dirty="0">
                <a:solidFill>
                  <a:srgbClr val="003264"/>
                </a:solidFill>
                <a:latin typeface="Calibri"/>
                <a:ea typeface="+mn-ea"/>
              </a:rPr>
              <a:t>-ergebnissen</a:t>
            </a:r>
          </a:p>
        </p:txBody>
      </p:sp>
      <p:sp>
        <p:nvSpPr>
          <p:cNvPr id="10" name="Textfeld 9"/>
          <p:cNvSpPr txBox="1"/>
          <p:nvPr/>
        </p:nvSpPr>
        <p:spPr>
          <a:xfrm>
            <a:off x="885056" y="4183920"/>
            <a:ext cx="2133600" cy="1477328"/>
          </a:xfrm>
          <a:prstGeom prst="rect">
            <a:avLst/>
          </a:prstGeom>
          <a:noFill/>
        </p:spPr>
        <p:txBody>
          <a:bodyPr wrap="square" rtlCol="0">
            <a:spAutoFit/>
          </a:bodyPr>
          <a:lstStyle/>
          <a:p>
            <a:pPr algn="ctr" fontAlgn="auto">
              <a:spcBef>
                <a:spcPts val="0"/>
              </a:spcBef>
              <a:spcAft>
                <a:spcPts val="0"/>
              </a:spcAft>
            </a:pPr>
            <a:r>
              <a:rPr lang="de-DE" sz="1800" dirty="0">
                <a:solidFill>
                  <a:srgbClr val="003264"/>
                </a:solidFill>
                <a:latin typeface="Calibri"/>
                <a:ea typeface="+mn-ea"/>
              </a:rPr>
              <a:t>Baustein</a:t>
            </a:r>
          </a:p>
          <a:p>
            <a:pPr fontAlgn="auto">
              <a:spcBef>
                <a:spcPts val="0"/>
              </a:spcBef>
              <a:spcAft>
                <a:spcPts val="0"/>
              </a:spcAft>
            </a:pPr>
            <a:r>
              <a:rPr lang="de-DE" sz="1800" b="1" dirty="0">
                <a:solidFill>
                  <a:srgbClr val="003264"/>
                </a:solidFill>
                <a:latin typeface="Calibri"/>
                <a:ea typeface="+mn-ea"/>
              </a:rPr>
              <a:t>Lerndokumentation</a:t>
            </a:r>
          </a:p>
          <a:p>
            <a:pPr fontAlgn="auto">
              <a:spcBef>
                <a:spcPts val="0"/>
              </a:spcBef>
              <a:spcAft>
                <a:spcPts val="0"/>
              </a:spcAft>
              <a:buFont typeface="Arial" pitchFamily="34" charset="0"/>
              <a:buChar char="•"/>
            </a:pPr>
            <a:r>
              <a:rPr lang="de-DE" sz="1800" dirty="0">
                <a:solidFill>
                  <a:srgbClr val="003264"/>
                </a:solidFill>
                <a:latin typeface="Calibri"/>
                <a:ea typeface="+mn-ea"/>
              </a:rPr>
              <a:t>  Lerntagebuch</a:t>
            </a:r>
          </a:p>
          <a:p>
            <a:pPr fontAlgn="auto">
              <a:spcBef>
                <a:spcPts val="0"/>
              </a:spcBef>
              <a:spcAft>
                <a:spcPts val="0"/>
              </a:spcAft>
              <a:buFont typeface="Arial" pitchFamily="34" charset="0"/>
              <a:buChar char="•"/>
            </a:pPr>
            <a:r>
              <a:rPr lang="de-DE" sz="1800" dirty="0">
                <a:solidFill>
                  <a:srgbClr val="003264"/>
                </a:solidFill>
                <a:latin typeface="Calibri"/>
                <a:ea typeface="+mn-ea"/>
              </a:rPr>
              <a:t>  Portfolio</a:t>
            </a:r>
          </a:p>
          <a:p>
            <a:pPr fontAlgn="auto">
              <a:spcBef>
                <a:spcPts val="0"/>
              </a:spcBef>
              <a:spcAft>
                <a:spcPts val="0"/>
              </a:spcAft>
              <a:buFont typeface="Arial" pitchFamily="34" charset="0"/>
              <a:buChar char="•"/>
            </a:pPr>
            <a:r>
              <a:rPr lang="de-DE" sz="1800" dirty="0">
                <a:solidFill>
                  <a:srgbClr val="003264"/>
                </a:solidFill>
                <a:latin typeface="Calibri"/>
                <a:ea typeface="+mn-ea"/>
              </a:rPr>
              <a:t>  geordnete Mappe</a:t>
            </a:r>
          </a:p>
        </p:txBody>
      </p:sp>
      <p:sp>
        <p:nvSpPr>
          <p:cNvPr id="11" name="Pfeil nach unten 10"/>
          <p:cNvSpPr/>
          <p:nvPr/>
        </p:nvSpPr>
        <p:spPr>
          <a:xfrm>
            <a:off x="1647056" y="3619872"/>
            <a:ext cx="484632" cy="457200"/>
          </a:xfrm>
          <a:prstGeom prst="downArrow">
            <a:avLst>
              <a:gd name="adj1" fmla="val 50000"/>
              <a:gd name="adj2" fmla="val 518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dirty="0">
              <a:solidFill>
                <a:srgbClr val="FFFFFF"/>
              </a:solidFill>
            </a:endParaRPr>
          </a:p>
        </p:txBody>
      </p:sp>
      <p:sp>
        <p:nvSpPr>
          <p:cNvPr id="12" name="Textfeld 11"/>
          <p:cNvSpPr txBox="1"/>
          <p:nvPr/>
        </p:nvSpPr>
        <p:spPr>
          <a:xfrm>
            <a:off x="3685806" y="2446784"/>
            <a:ext cx="1606274" cy="923330"/>
          </a:xfrm>
          <a:prstGeom prst="rect">
            <a:avLst/>
          </a:prstGeom>
          <a:noFill/>
        </p:spPr>
        <p:txBody>
          <a:bodyPr wrap="none" rtlCol="0">
            <a:spAutoFit/>
          </a:bodyPr>
          <a:lstStyle/>
          <a:p>
            <a:pPr algn="ctr" fontAlgn="auto">
              <a:spcBef>
                <a:spcPts val="0"/>
              </a:spcBef>
              <a:spcAft>
                <a:spcPts val="0"/>
              </a:spcAft>
            </a:pPr>
            <a:r>
              <a:rPr lang="de-DE" sz="1800" dirty="0">
                <a:solidFill>
                  <a:srgbClr val="003264"/>
                </a:solidFill>
                <a:latin typeface="Calibri"/>
                <a:ea typeface="+mn-ea"/>
              </a:rPr>
              <a:t>differenzierte</a:t>
            </a:r>
          </a:p>
          <a:p>
            <a:pPr algn="ctr" fontAlgn="auto">
              <a:spcBef>
                <a:spcPts val="0"/>
              </a:spcBef>
              <a:spcAft>
                <a:spcPts val="0"/>
              </a:spcAft>
            </a:pPr>
            <a:r>
              <a:rPr lang="de-DE" sz="1800" dirty="0">
                <a:solidFill>
                  <a:srgbClr val="003264"/>
                </a:solidFill>
                <a:latin typeface="Calibri"/>
                <a:ea typeface="+mn-ea"/>
              </a:rPr>
              <a:t>Bewertung der</a:t>
            </a:r>
          </a:p>
          <a:p>
            <a:pPr algn="ctr" fontAlgn="auto">
              <a:spcBef>
                <a:spcPts val="0"/>
              </a:spcBef>
              <a:spcAft>
                <a:spcPts val="0"/>
              </a:spcAft>
            </a:pPr>
            <a:r>
              <a:rPr lang="de-DE" sz="1800" dirty="0">
                <a:solidFill>
                  <a:srgbClr val="003264"/>
                </a:solidFill>
                <a:latin typeface="Calibri"/>
                <a:ea typeface="+mn-ea"/>
              </a:rPr>
              <a:t>Lernergebnisse</a:t>
            </a:r>
          </a:p>
        </p:txBody>
      </p:sp>
      <p:sp>
        <p:nvSpPr>
          <p:cNvPr id="13" name="Textfeld 12"/>
          <p:cNvSpPr txBox="1"/>
          <p:nvPr/>
        </p:nvSpPr>
        <p:spPr>
          <a:xfrm>
            <a:off x="6142856" y="2446784"/>
            <a:ext cx="1676400" cy="646331"/>
          </a:xfrm>
          <a:prstGeom prst="rect">
            <a:avLst/>
          </a:prstGeom>
          <a:noFill/>
        </p:spPr>
        <p:txBody>
          <a:bodyPr wrap="square" rtlCol="0">
            <a:spAutoFit/>
          </a:bodyPr>
          <a:lstStyle/>
          <a:p>
            <a:pPr fontAlgn="auto">
              <a:spcBef>
                <a:spcPts val="0"/>
              </a:spcBef>
              <a:spcAft>
                <a:spcPts val="0"/>
              </a:spcAft>
            </a:pPr>
            <a:r>
              <a:rPr lang="de-DE" sz="1800" dirty="0">
                <a:solidFill>
                  <a:srgbClr val="003264"/>
                </a:solidFill>
                <a:latin typeface="Calibri"/>
                <a:ea typeface="+mn-ea"/>
              </a:rPr>
              <a:t>Kooperation</a:t>
            </a:r>
          </a:p>
          <a:p>
            <a:pPr fontAlgn="auto">
              <a:spcBef>
                <a:spcPts val="0"/>
              </a:spcBef>
              <a:spcAft>
                <a:spcPts val="0"/>
              </a:spcAft>
            </a:pPr>
            <a:r>
              <a:rPr lang="de-DE" sz="1800" dirty="0">
                <a:solidFill>
                  <a:srgbClr val="003264"/>
                </a:solidFill>
                <a:latin typeface="Calibri"/>
                <a:ea typeface="+mn-ea"/>
              </a:rPr>
              <a:t>der Lernenden</a:t>
            </a:r>
          </a:p>
        </p:txBody>
      </p:sp>
      <p:sp>
        <p:nvSpPr>
          <p:cNvPr id="15" name="Pfeil nach unten 14"/>
          <p:cNvSpPr/>
          <p:nvPr/>
        </p:nvSpPr>
        <p:spPr>
          <a:xfrm>
            <a:off x="4303392" y="3619872"/>
            <a:ext cx="484632" cy="457200"/>
          </a:xfrm>
          <a:prstGeom prst="downArrow">
            <a:avLst>
              <a:gd name="adj1" fmla="val 50000"/>
              <a:gd name="adj2" fmla="val 518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dirty="0">
              <a:solidFill>
                <a:srgbClr val="FFFFFF"/>
              </a:solidFill>
            </a:endParaRPr>
          </a:p>
        </p:txBody>
      </p:sp>
      <p:sp>
        <p:nvSpPr>
          <p:cNvPr id="16" name="Pfeil nach unten 15"/>
          <p:cNvSpPr/>
          <p:nvPr/>
        </p:nvSpPr>
        <p:spPr>
          <a:xfrm>
            <a:off x="6676256" y="3619872"/>
            <a:ext cx="484632" cy="457200"/>
          </a:xfrm>
          <a:prstGeom prst="downArrow">
            <a:avLst>
              <a:gd name="adj1" fmla="val 50000"/>
              <a:gd name="adj2" fmla="val 518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dirty="0">
              <a:solidFill>
                <a:srgbClr val="FFFFFF"/>
              </a:solidFill>
            </a:endParaRPr>
          </a:p>
        </p:txBody>
      </p:sp>
      <p:sp>
        <p:nvSpPr>
          <p:cNvPr id="18" name="Textfeld 17"/>
          <p:cNvSpPr txBox="1"/>
          <p:nvPr/>
        </p:nvSpPr>
        <p:spPr>
          <a:xfrm>
            <a:off x="3366120" y="4183920"/>
            <a:ext cx="2286000" cy="1477328"/>
          </a:xfrm>
          <a:prstGeom prst="rect">
            <a:avLst/>
          </a:prstGeom>
          <a:noFill/>
        </p:spPr>
        <p:txBody>
          <a:bodyPr wrap="square" rtlCol="0">
            <a:spAutoFit/>
          </a:bodyPr>
          <a:lstStyle/>
          <a:p>
            <a:pPr algn="ctr" fontAlgn="auto">
              <a:spcBef>
                <a:spcPts val="0"/>
              </a:spcBef>
              <a:spcAft>
                <a:spcPts val="0"/>
              </a:spcAft>
            </a:pPr>
            <a:r>
              <a:rPr lang="de-DE" sz="1800" dirty="0">
                <a:solidFill>
                  <a:srgbClr val="003264"/>
                </a:solidFill>
                <a:latin typeface="Calibri"/>
                <a:ea typeface="+mn-ea"/>
              </a:rPr>
              <a:t>Baustein</a:t>
            </a:r>
          </a:p>
          <a:p>
            <a:pPr fontAlgn="auto">
              <a:spcBef>
                <a:spcPts val="0"/>
              </a:spcBef>
              <a:spcAft>
                <a:spcPts val="0"/>
              </a:spcAft>
            </a:pPr>
            <a:r>
              <a:rPr lang="de-DE" sz="1800" b="1" dirty="0">
                <a:solidFill>
                  <a:srgbClr val="003264"/>
                </a:solidFill>
                <a:latin typeface="Calibri"/>
                <a:ea typeface="+mn-ea"/>
              </a:rPr>
              <a:t>Leistungsbeurteilung</a:t>
            </a:r>
          </a:p>
          <a:p>
            <a:pPr fontAlgn="auto">
              <a:spcBef>
                <a:spcPts val="0"/>
              </a:spcBef>
              <a:spcAft>
                <a:spcPts val="0"/>
              </a:spcAft>
              <a:buFont typeface="Arial" pitchFamily="34" charset="0"/>
              <a:buChar char="•"/>
            </a:pPr>
            <a:r>
              <a:rPr lang="de-DE" sz="1800" dirty="0">
                <a:solidFill>
                  <a:srgbClr val="003264"/>
                </a:solidFill>
                <a:latin typeface="Calibri"/>
                <a:ea typeface="+mn-ea"/>
              </a:rPr>
              <a:t>  Produkt</a:t>
            </a:r>
          </a:p>
          <a:p>
            <a:pPr fontAlgn="auto">
              <a:spcBef>
                <a:spcPts val="0"/>
              </a:spcBef>
              <a:spcAft>
                <a:spcPts val="0"/>
              </a:spcAft>
              <a:buFont typeface="Arial" pitchFamily="34" charset="0"/>
              <a:buChar char="•"/>
            </a:pPr>
            <a:r>
              <a:rPr lang="de-DE" sz="1800" dirty="0">
                <a:solidFill>
                  <a:srgbClr val="003264"/>
                </a:solidFill>
                <a:latin typeface="Calibri"/>
                <a:ea typeface="+mn-ea"/>
              </a:rPr>
              <a:t>  Prozess</a:t>
            </a:r>
          </a:p>
          <a:p>
            <a:pPr fontAlgn="auto">
              <a:spcBef>
                <a:spcPts val="0"/>
              </a:spcBef>
              <a:spcAft>
                <a:spcPts val="0"/>
              </a:spcAft>
              <a:buFont typeface="Arial" pitchFamily="34" charset="0"/>
              <a:buChar char="•"/>
            </a:pPr>
            <a:r>
              <a:rPr lang="de-DE" sz="1800" dirty="0">
                <a:solidFill>
                  <a:srgbClr val="003264"/>
                </a:solidFill>
                <a:latin typeface="Calibri"/>
                <a:ea typeface="+mn-ea"/>
              </a:rPr>
              <a:t>  Präsentation</a:t>
            </a:r>
          </a:p>
        </p:txBody>
      </p:sp>
      <p:sp>
        <p:nvSpPr>
          <p:cNvPr id="19" name="Textfeld 18"/>
          <p:cNvSpPr txBox="1"/>
          <p:nvPr/>
        </p:nvSpPr>
        <p:spPr>
          <a:xfrm>
            <a:off x="5933312" y="4205987"/>
            <a:ext cx="2311096" cy="2031325"/>
          </a:xfrm>
          <a:prstGeom prst="rect">
            <a:avLst/>
          </a:prstGeom>
          <a:noFill/>
        </p:spPr>
        <p:txBody>
          <a:bodyPr wrap="square" rtlCol="0">
            <a:spAutoFit/>
          </a:bodyPr>
          <a:lstStyle/>
          <a:p>
            <a:pPr algn="ctr" fontAlgn="auto">
              <a:spcBef>
                <a:spcPts val="0"/>
              </a:spcBef>
              <a:spcAft>
                <a:spcPts val="0"/>
              </a:spcAft>
            </a:pPr>
            <a:r>
              <a:rPr lang="de-DE" sz="1800" dirty="0">
                <a:solidFill>
                  <a:srgbClr val="003264"/>
                </a:solidFill>
                <a:latin typeface="Calibri"/>
                <a:ea typeface="+mn-ea"/>
              </a:rPr>
              <a:t>Baustein </a:t>
            </a:r>
          </a:p>
          <a:p>
            <a:pPr fontAlgn="auto">
              <a:spcBef>
                <a:spcPts val="0"/>
              </a:spcBef>
              <a:spcAft>
                <a:spcPts val="0"/>
              </a:spcAft>
            </a:pPr>
            <a:r>
              <a:rPr lang="de-DE" sz="1800" b="1" dirty="0">
                <a:solidFill>
                  <a:srgbClr val="003264"/>
                </a:solidFill>
                <a:latin typeface="Calibri"/>
                <a:ea typeface="+mn-ea"/>
              </a:rPr>
              <a:t>Kooperatives Lernen</a:t>
            </a:r>
          </a:p>
          <a:p>
            <a:pPr marL="180975" indent="-180975" fontAlgn="auto">
              <a:spcBef>
                <a:spcPts val="0"/>
              </a:spcBef>
              <a:spcAft>
                <a:spcPts val="0"/>
              </a:spcAft>
              <a:buFont typeface="Arial" pitchFamily="34" charset="0"/>
              <a:buChar char="•"/>
            </a:pPr>
            <a:r>
              <a:rPr lang="de-DE" sz="1800" dirty="0">
                <a:solidFill>
                  <a:srgbClr val="003264"/>
                </a:solidFill>
                <a:latin typeface="Calibri"/>
                <a:ea typeface="+mn-ea"/>
              </a:rPr>
              <a:t>Konzept</a:t>
            </a:r>
          </a:p>
          <a:p>
            <a:pPr marL="180975" indent="-180975" fontAlgn="auto">
              <a:spcBef>
                <a:spcPts val="0"/>
              </a:spcBef>
              <a:spcAft>
                <a:spcPts val="0"/>
              </a:spcAft>
              <a:buFont typeface="Arial" pitchFamily="34" charset="0"/>
              <a:buChar char="•"/>
            </a:pPr>
            <a:r>
              <a:rPr lang="de-DE" sz="1800" dirty="0">
                <a:solidFill>
                  <a:srgbClr val="003264"/>
                </a:solidFill>
                <a:latin typeface="Calibri"/>
                <a:ea typeface="+mn-ea"/>
              </a:rPr>
              <a:t>Basiselemente</a:t>
            </a:r>
          </a:p>
          <a:p>
            <a:pPr marL="180975" indent="-180975" fontAlgn="auto">
              <a:spcBef>
                <a:spcPts val="0"/>
              </a:spcBef>
              <a:spcAft>
                <a:spcPts val="0"/>
              </a:spcAft>
              <a:buFont typeface="Arial" pitchFamily="34" charset="0"/>
              <a:buChar char="•"/>
            </a:pPr>
            <a:r>
              <a:rPr lang="de-DE" sz="1800" dirty="0">
                <a:solidFill>
                  <a:srgbClr val="003264"/>
                </a:solidFill>
                <a:latin typeface="Calibri"/>
                <a:ea typeface="+mn-ea"/>
              </a:rPr>
              <a:t>Gestaltung von Gruppenprozessen</a:t>
            </a:r>
          </a:p>
          <a:p>
            <a:pPr fontAlgn="auto">
              <a:spcBef>
                <a:spcPts val="0"/>
              </a:spcBef>
              <a:spcAft>
                <a:spcPts val="0"/>
              </a:spcAft>
            </a:pPr>
            <a:endParaRPr lang="de-DE" sz="1800" dirty="0">
              <a:solidFill>
                <a:srgbClr val="0070C0"/>
              </a:solidFill>
              <a:latin typeface="Calibri"/>
              <a:ea typeface="+mn-ea"/>
            </a:endParaRPr>
          </a:p>
        </p:txBody>
      </p:sp>
    </p:spTree>
    <p:extLst>
      <p:ext uri="{BB962C8B-B14F-4D97-AF65-F5344CB8AC3E}">
        <p14:creationId xmlns:p14="http://schemas.microsoft.com/office/powerpoint/2010/main" val="556696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 calcmode="lin" valueType="num">
                                      <p:cBhvr additive="base">
                                        <p:cTn id="11"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9">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 calcmode="lin" valueType="num">
                                      <p:cBhvr additive="base">
                                        <p:cTn id="15"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2" presetClass="entr" presetSubtype="4"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 calcmode="lin" valueType="num">
                                      <p:cBhvr additive="base">
                                        <p:cTn id="23"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0">
                                            <p:txEl>
                                              <p:pRg st="0" end="0"/>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anim calcmode="lin" valueType="num">
                                      <p:cBhvr additive="base">
                                        <p:cTn id="27" dur="500" fill="hold"/>
                                        <p:tgtEl>
                                          <p:spTgt spid="10">
                                            <p:txEl>
                                              <p:pRg st="1" end="1"/>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10">
                                            <p:txEl>
                                              <p:pRg st="1" end="1"/>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xEl>
                                              <p:pRg st="2" end="2"/>
                                            </p:txEl>
                                          </p:spTgt>
                                        </p:tgtEl>
                                        <p:attrNameLst>
                                          <p:attrName>style.visibility</p:attrName>
                                        </p:attrNameLst>
                                      </p:cBhvr>
                                      <p:to>
                                        <p:strVal val="visible"/>
                                      </p:to>
                                    </p:set>
                                    <p:anim calcmode="lin" valueType="num">
                                      <p:cBhvr additive="base">
                                        <p:cTn id="31"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0">
                                            <p:txEl>
                                              <p:pRg st="2" end="2"/>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anim calcmode="lin" valueType="num">
                                      <p:cBhvr additive="base">
                                        <p:cTn id="35" dur="500" fill="hold"/>
                                        <p:tgtEl>
                                          <p:spTgt spid="10">
                                            <p:txEl>
                                              <p:pRg st="3" end="3"/>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10">
                                            <p:txEl>
                                              <p:pRg st="3" end="3"/>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0">
                                            <p:txEl>
                                              <p:pRg st="4" end="4"/>
                                            </p:txEl>
                                          </p:spTgt>
                                        </p:tgtEl>
                                        <p:attrNameLst>
                                          <p:attrName>style.visibility</p:attrName>
                                        </p:attrNameLst>
                                      </p:cBhvr>
                                      <p:to>
                                        <p:strVal val="visible"/>
                                      </p:to>
                                    </p:set>
                                    <p:anim calcmode="lin" valueType="num">
                                      <p:cBhvr additive="base">
                                        <p:cTn id="39" dur="500" fill="hold"/>
                                        <p:tgtEl>
                                          <p:spTgt spid="10">
                                            <p:txEl>
                                              <p:pRg st="4" end="4"/>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2">
                                            <p:txEl>
                                              <p:pRg st="0" end="0"/>
                                            </p:txEl>
                                          </p:spTgt>
                                        </p:tgtEl>
                                        <p:attrNameLst>
                                          <p:attrName>style.visibility</p:attrName>
                                        </p:attrNameLst>
                                      </p:cBhvr>
                                      <p:to>
                                        <p:strVal val="visible"/>
                                      </p:to>
                                    </p:set>
                                    <p:anim calcmode="lin" valueType="num">
                                      <p:cBhvr additive="base">
                                        <p:cTn id="45"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12">
                                            <p:txEl>
                                              <p:pRg st="0" end="0"/>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2">
                                            <p:txEl>
                                              <p:pRg st="1" end="1"/>
                                            </p:txEl>
                                          </p:spTgt>
                                        </p:tgtEl>
                                        <p:attrNameLst>
                                          <p:attrName>style.visibility</p:attrName>
                                        </p:attrNameLst>
                                      </p:cBhvr>
                                      <p:to>
                                        <p:strVal val="visible"/>
                                      </p:to>
                                    </p:set>
                                    <p:anim calcmode="lin" valueType="num">
                                      <p:cBhvr additive="base">
                                        <p:cTn id="49" dur="500" fill="hold"/>
                                        <p:tgtEl>
                                          <p:spTgt spid="12">
                                            <p:txEl>
                                              <p:pRg st="1" end="1"/>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2">
                                            <p:txEl>
                                              <p:pRg st="1" end="1"/>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2">
                                            <p:txEl>
                                              <p:pRg st="2" end="2"/>
                                            </p:txEl>
                                          </p:spTgt>
                                        </p:tgtEl>
                                        <p:attrNameLst>
                                          <p:attrName>style.visibility</p:attrName>
                                        </p:attrNameLst>
                                      </p:cBhvr>
                                      <p:to>
                                        <p:strVal val="visible"/>
                                      </p:to>
                                    </p:set>
                                    <p:anim calcmode="lin" valueType="num">
                                      <p:cBhvr additive="base">
                                        <p:cTn id="53"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1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par>
                                <p:cTn id="59" presetID="2" presetClass="entr" presetSubtype="4" fill="hold" grpId="0" nodeType="withEffect">
                                  <p:stCondLst>
                                    <p:cond delay="0"/>
                                  </p:stCondLst>
                                  <p:childTnLst>
                                    <p:set>
                                      <p:cBhvr>
                                        <p:cTn id="60" dur="1" fill="hold">
                                          <p:stCondLst>
                                            <p:cond delay="0"/>
                                          </p:stCondLst>
                                        </p:cTn>
                                        <p:tgtEl>
                                          <p:spTgt spid="18">
                                            <p:txEl>
                                              <p:pRg st="0" end="0"/>
                                            </p:txEl>
                                          </p:spTgt>
                                        </p:tgtEl>
                                        <p:attrNameLst>
                                          <p:attrName>style.visibility</p:attrName>
                                        </p:attrNameLst>
                                      </p:cBhvr>
                                      <p:to>
                                        <p:strVal val="visible"/>
                                      </p:to>
                                    </p:set>
                                    <p:anim calcmode="lin" valueType="num">
                                      <p:cBhvr additive="base">
                                        <p:cTn id="61"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18">
                                            <p:txEl>
                                              <p:pRg st="0" end="0"/>
                                            </p:txEl>
                                          </p:spTgt>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8">
                                            <p:txEl>
                                              <p:pRg st="1" end="1"/>
                                            </p:txEl>
                                          </p:spTgt>
                                        </p:tgtEl>
                                        <p:attrNameLst>
                                          <p:attrName>style.visibility</p:attrName>
                                        </p:attrNameLst>
                                      </p:cBhvr>
                                      <p:to>
                                        <p:strVal val="visible"/>
                                      </p:to>
                                    </p:set>
                                    <p:anim calcmode="lin" valueType="num">
                                      <p:cBhvr additive="base">
                                        <p:cTn id="65" dur="500" fill="hold"/>
                                        <p:tgtEl>
                                          <p:spTgt spid="18">
                                            <p:txEl>
                                              <p:pRg st="1" end="1"/>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18">
                                            <p:txEl>
                                              <p:pRg st="1" end="1"/>
                                            </p:txEl>
                                          </p:spTgt>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18">
                                            <p:txEl>
                                              <p:pRg st="2" end="2"/>
                                            </p:txEl>
                                          </p:spTgt>
                                        </p:tgtEl>
                                        <p:attrNameLst>
                                          <p:attrName>style.visibility</p:attrName>
                                        </p:attrNameLst>
                                      </p:cBhvr>
                                      <p:to>
                                        <p:strVal val="visible"/>
                                      </p:to>
                                    </p:set>
                                    <p:anim calcmode="lin" valueType="num">
                                      <p:cBhvr additive="base">
                                        <p:cTn id="69" dur="500" fill="hold"/>
                                        <p:tgtEl>
                                          <p:spTgt spid="18">
                                            <p:txEl>
                                              <p:pRg st="2" end="2"/>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18">
                                            <p:txEl>
                                              <p:pRg st="2" end="2"/>
                                            </p:txEl>
                                          </p:spTgt>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18">
                                            <p:txEl>
                                              <p:pRg st="3" end="3"/>
                                            </p:txEl>
                                          </p:spTgt>
                                        </p:tgtEl>
                                        <p:attrNameLst>
                                          <p:attrName>style.visibility</p:attrName>
                                        </p:attrNameLst>
                                      </p:cBhvr>
                                      <p:to>
                                        <p:strVal val="visible"/>
                                      </p:to>
                                    </p:set>
                                    <p:anim calcmode="lin" valueType="num">
                                      <p:cBhvr additive="base">
                                        <p:cTn id="73" dur="500" fill="hold"/>
                                        <p:tgtEl>
                                          <p:spTgt spid="18">
                                            <p:txEl>
                                              <p:pRg st="3" end="3"/>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18">
                                            <p:txEl>
                                              <p:pRg st="3" end="3"/>
                                            </p:txEl>
                                          </p:spTgt>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18">
                                            <p:txEl>
                                              <p:pRg st="4" end="4"/>
                                            </p:txEl>
                                          </p:spTgt>
                                        </p:tgtEl>
                                        <p:attrNameLst>
                                          <p:attrName>style.visibility</p:attrName>
                                        </p:attrNameLst>
                                      </p:cBhvr>
                                      <p:to>
                                        <p:strVal val="visible"/>
                                      </p:to>
                                    </p:set>
                                    <p:anim calcmode="lin" valueType="num">
                                      <p:cBhvr additive="base">
                                        <p:cTn id="77" dur="500" fill="hold"/>
                                        <p:tgtEl>
                                          <p:spTgt spid="18">
                                            <p:txEl>
                                              <p:pRg st="4" end="4"/>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18">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13">
                                            <p:txEl>
                                              <p:pRg st="0" end="0"/>
                                            </p:txEl>
                                          </p:spTgt>
                                        </p:tgtEl>
                                        <p:attrNameLst>
                                          <p:attrName>style.visibility</p:attrName>
                                        </p:attrNameLst>
                                      </p:cBhvr>
                                      <p:to>
                                        <p:strVal val="visible"/>
                                      </p:to>
                                    </p:set>
                                    <p:anim calcmode="lin" valueType="num">
                                      <p:cBhvr additive="base">
                                        <p:cTn id="83"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84" dur="500" fill="hold"/>
                                        <p:tgtEl>
                                          <p:spTgt spid="13">
                                            <p:txEl>
                                              <p:pRg st="0" end="0"/>
                                            </p:txEl>
                                          </p:spTgt>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13">
                                            <p:txEl>
                                              <p:pRg st="1" end="1"/>
                                            </p:txEl>
                                          </p:spTgt>
                                        </p:tgtEl>
                                        <p:attrNameLst>
                                          <p:attrName>style.visibility</p:attrName>
                                        </p:attrNameLst>
                                      </p:cBhvr>
                                      <p:to>
                                        <p:strVal val="visible"/>
                                      </p:to>
                                    </p:set>
                                    <p:anim calcmode="lin" valueType="num">
                                      <p:cBhvr additive="base">
                                        <p:cTn id="87" dur="500" fill="hold"/>
                                        <p:tgtEl>
                                          <p:spTgt spid="13">
                                            <p:txEl>
                                              <p:pRg st="1" end="1"/>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1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16"/>
                                        </p:tgtEl>
                                        <p:attrNameLst>
                                          <p:attrName>style.visibility</p:attrName>
                                        </p:attrNameLst>
                                      </p:cBhvr>
                                      <p:to>
                                        <p:strVal val="visible"/>
                                      </p:to>
                                    </p:set>
                                  </p:childTnLst>
                                </p:cTn>
                              </p:par>
                              <p:par>
                                <p:cTn id="93" presetID="2" presetClass="entr" presetSubtype="4" fill="hold" grpId="0" nodeType="withEffect">
                                  <p:stCondLst>
                                    <p:cond delay="0"/>
                                  </p:stCondLst>
                                  <p:childTnLst>
                                    <p:set>
                                      <p:cBhvr>
                                        <p:cTn id="94" dur="1" fill="hold">
                                          <p:stCondLst>
                                            <p:cond delay="0"/>
                                          </p:stCondLst>
                                        </p:cTn>
                                        <p:tgtEl>
                                          <p:spTgt spid="19">
                                            <p:txEl>
                                              <p:pRg st="0" end="0"/>
                                            </p:txEl>
                                          </p:spTgt>
                                        </p:tgtEl>
                                        <p:attrNameLst>
                                          <p:attrName>style.visibility</p:attrName>
                                        </p:attrNameLst>
                                      </p:cBhvr>
                                      <p:to>
                                        <p:strVal val="visible"/>
                                      </p:to>
                                    </p:set>
                                    <p:anim calcmode="lin" valueType="num">
                                      <p:cBhvr additive="base">
                                        <p:cTn id="95" dur="500" fill="hold"/>
                                        <p:tgtEl>
                                          <p:spTgt spid="19">
                                            <p:txEl>
                                              <p:pRg st="0" end="0"/>
                                            </p:txEl>
                                          </p:spTgt>
                                        </p:tgtEl>
                                        <p:attrNameLst>
                                          <p:attrName>ppt_x</p:attrName>
                                        </p:attrNameLst>
                                      </p:cBhvr>
                                      <p:tavLst>
                                        <p:tav tm="0">
                                          <p:val>
                                            <p:strVal val="#ppt_x"/>
                                          </p:val>
                                        </p:tav>
                                        <p:tav tm="100000">
                                          <p:val>
                                            <p:strVal val="#ppt_x"/>
                                          </p:val>
                                        </p:tav>
                                      </p:tavLst>
                                    </p:anim>
                                    <p:anim calcmode="lin" valueType="num">
                                      <p:cBhvr additive="base">
                                        <p:cTn id="96" dur="500" fill="hold"/>
                                        <p:tgtEl>
                                          <p:spTgt spid="19">
                                            <p:txEl>
                                              <p:pRg st="0" end="0"/>
                                            </p:txEl>
                                          </p:spTgt>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19">
                                            <p:txEl>
                                              <p:pRg st="1" end="1"/>
                                            </p:txEl>
                                          </p:spTgt>
                                        </p:tgtEl>
                                        <p:attrNameLst>
                                          <p:attrName>style.visibility</p:attrName>
                                        </p:attrNameLst>
                                      </p:cBhvr>
                                      <p:to>
                                        <p:strVal val="visible"/>
                                      </p:to>
                                    </p:set>
                                    <p:anim calcmode="lin" valueType="num">
                                      <p:cBhvr additive="base">
                                        <p:cTn id="99" dur="500" fill="hold"/>
                                        <p:tgtEl>
                                          <p:spTgt spid="19">
                                            <p:txEl>
                                              <p:pRg st="1" end="1"/>
                                            </p:txEl>
                                          </p:spTgt>
                                        </p:tgtEl>
                                        <p:attrNameLst>
                                          <p:attrName>ppt_x</p:attrName>
                                        </p:attrNameLst>
                                      </p:cBhvr>
                                      <p:tavLst>
                                        <p:tav tm="0">
                                          <p:val>
                                            <p:strVal val="#ppt_x"/>
                                          </p:val>
                                        </p:tav>
                                        <p:tav tm="100000">
                                          <p:val>
                                            <p:strVal val="#ppt_x"/>
                                          </p:val>
                                        </p:tav>
                                      </p:tavLst>
                                    </p:anim>
                                    <p:anim calcmode="lin" valueType="num">
                                      <p:cBhvr additive="base">
                                        <p:cTn id="100" dur="500" fill="hold"/>
                                        <p:tgtEl>
                                          <p:spTgt spid="19">
                                            <p:txEl>
                                              <p:pRg st="1" end="1"/>
                                            </p:txEl>
                                          </p:spTgt>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19">
                                            <p:txEl>
                                              <p:pRg st="2" end="2"/>
                                            </p:txEl>
                                          </p:spTgt>
                                        </p:tgtEl>
                                        <p:attrNameLst>
                                          <p:attrName>style.visibility</p:attrName>
                                        </p:attrNameLst>
                                      </p:cBhvr>
                                      <p:to>
                                        <p:strVal val="visible"/>
                                      </p:to>
                                    </p:set>
                                    <p:anim calcmode="lin" valueType="num">
                                      <p:cBhvr additive="base">
                                        <p:cTn id="103" dur="500" fill="hold"/>
                                        <p:tgtEl>
                                          <p:spTgt spid="19">
                                            <p:txEl>
                                              <p:pRg st="2" end="2"/>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19">
                                            <p:txEl>
                                              <p:pRg st="2" end="2"/>
                                            </p:txEl>
                                          </p:spTgt>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19">
                                            <p:txEl>
                                              <p:pRg st="3" end="3"/>
                                            </p:txEl>
                                          </p:spTgt>
                                        </p:tgtEl>
                                        <p:attrNameLst>
                                          <p:attrName>style.visibility</p:attrName>
                                        </p:attrNameLst>
                                      </p:cBhvr>
                                      <p:to>
                                        <p:strVal val="visible"/>
                                      </p:to>
                                    </p:set>
                                    <p:anim calcmode="lin" valueType="num">
                                      <p:cBhvr additive="base">
                                        <p:cTn id="107" dur="500" fill="hold"/>
                                        <p:tgtEl>
                                          <p:spTgt spid="19">
                                            <p:txEl>
                                              <p:pRg st="3" end="3"/>
                                            </p:txEl>
                                          </p:spTgt>
                                        </p:tgtEl>
                                        <p:attrNameLst>
                                          <p:attrName>ppt_x</p:attrName>
                                        </p:attrNameLst>
                                      </p:cBhvr>
                                      <p:tavLst>
                                        <p:tav tm="0">
                                          <p:val>
                                            <p:strVal val="#ppt_x"/>
                                          </p:val>
                                        </p:tav>
                                        <p:tav tm="100000">
                                          <p:val>
                                            <p:strVal val="#ppt_x"/>
                                          </p:val>
                                        </p:tav>
                                      </p:tavLst>
                                    </p:anim>
                                    <p:anim calcmode="lin" valueType="num">
                                      <p:cBhvr additive="base">
                                        <p:cTn id="108" dur="500" fill="hold"/>
                                        <p:tgtEl>
                                          <p:spTgt spid="19">
                                            <p:txEl>
                                              <p:pRg st="3" end="3"/>
                                            </p:txEl>
                                          </p:spTgt>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19">
                                            <p:txEl>
                                              <p:pRg st="4" end="4"/>
                                            </p:txEl>
                                          </p:spTgt>
                                        </p:tgtEl>
                                        <p:attrNameLst>
                                          <p:attrName>style.visibility</p:attrName>
                                        </p:attrNameLst>
                                      </p:cBhvr>
                                      <p:to>
                                        <p:strVal val="visible"/>
                                      </p:to>
                                    </p:set>
                                    <p:anim calcmode="lin" valueType="num">
                                      <p:cBhvr additive="base">
                                        <p:cTn id="111" dur="500" fill="hold"/>
                                        <p:tgtEl>
                                          <p:spTgt spid="19">
                                            <p:txEl>
                                              <p:pRg st="4" end="4"/>
                                            </p:txEl>
                                          </p:spTgt>
                                        </p:tgtEl>
                                        <p:attrNameLst>
                                          <p:attrName>ppt_x</p:attrName>
                                        </p:attrNameLst>
                                      </p:cBhvr>
                                      <p:tavLst>
                                        <p:tav tm="0">
                                          <p:val>
                                            <p:strVal val="#ppt_x"/>
                                          </p:val>
                                        </p:tav>
                                        <p:tav tm="100000">
                                          <p:val>
                                            <p:strVal val="#ppt_x"/>
                                          </p:val>
                                        </p:tav>
                                      </p:tavLst>
                                    </p:anim>
                                    <p:anim calcmode="lin" valueType="num">
                                      <p:cBhvr additive="base">
                                        <p:cTn id="112" dur="500" fill="hold"/>
                                        <p:tgtEl>
                                          <p:spTgt spid="19">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allAtOnce"/>
      <p:bldP spid="10" grpId="0" build="allAtOnce"/>
      <p:bldP spid="11" grpId="0" animBg="1"/>
      <p:bldP spid="12" grpId="0" build="allAtOnce"/>
      <p:bldP spid="13" grpId="0" build="allAtOnce"/>
      <p:bldP spid="15" grpId="0" animBg="1"/>
      <p:bldP spid="16" grpId="0" animBg="1"/>
      <p:bldP spid="18" grpId="0" build="allAtOnce"/>
      <p:bldP spid="19" grpId="0" build="allAtOnce"/>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Genese</a:t>
            </a:r>
            <a:endParaRPr lang="de-DE" dirty="0"/>
          </a:p>
        </p:txBody>
      </p:sp>
      <p:sp>
        <p:nvSpPr>
          <p:cNvPr id="3" name="Inhaltsplatzhalter 2"/>
          <p:cNvSpPr>
            <a:spLocks noGrp="1"/>
          </p:cNvSpPr>
          <p:nvPr>
            <p:ph idx="1"/>
          </p:nvPr>
        </p:nvSpPr>
        <p:spPr>
          <a:xfrm>
            <a:off x="304800" y="1981200"/>
            <a:ext cx="8458200" cy="4495800"/>
          </a:xfrm>
        </p:spPr>
        <p:txBody>
          <a:bodyPr/>
          <a:lstStyle/>
          <a:p>
            <a:pPr marL="285750" indent="-285750">
              <a:buFont typeface="Arial" panose="020B0604020202020204" pitchFamily="34" charset="0"/>
              <a:buChar char="•"/>
            </a:pPr>
            <a:r>
              <a:rPr lang="de-DE" dirty="0" smtClean="0"/>
              <a:t>2010 beschließen das Ministerium für Schule und Weiterbildung (MSW) in Nordrhein-Westfalen und die Bertelsmann Stiftung miteinander zu kooperieren, um Lehrkräfte von weiterführenden Schulen dabei zu unterstützen, besser mit der Vielfalt ihrer Schülerinnen und Schüler umzugehen.</a:t>
            </a:r>
          </a:p>
          <a:p>
            <a:pPr marL="285750" indent="-285750">
              <a:buFont typeface="Arial" panose="020B0604020202020204" pitchFamily="34" charset="0"/>
              <a:buChar char="•"/>
            </a:pPr>
            <a:r>
              <a:rPr lang="de-DE" dirty="0" smtClean="0"/>
              <a:t>2011: Wir stellen eine Gruppe von Fortbildnern zusammen, die die Inhalte der 4 Module erarbeiten sollen. Die Universität Münster übernimmt mit Prof. Christian Fischer die wissenschaftliche Leitung bei der Erarbeitung der Module.</a:t>
            </a:r>
          </a:p>
          <a:p>
            <a:pPr marL="285750" indent="-285750">
              <a:buFont typeface="Arial" panose="020B0604020202020204" pitchFamily="34" charset="0"/>
              <a:buChar char="•"/>
            </a:pPr>
            <a:r>
              <a:rPr lang="de-DE" dirty="0" smtClean="0"/>
              <a:t>2012: Das Projekt startet in 5 Pilotregionen (Städten und Kreisen) in Nordrhein-Westfalen. Die Ausbildung der Fortbildner (Moderator/innen) startet im Februar, die ersten Schulen steigen mit Beginn des Schuljahres 2012/13 in die Fortbildung ein. </a:t>
            </a:r>
          </a:p>
          <a:p>
            <a:pPr marL="285750" indent="-285750">
              <a:buFont typeface="Arial" panose="020B0604020202020204" pitchFamily="34" charset="0"/>
              <a:buChar char="•"/>
            </a:pPr>
            <a:r>
              <a:rPr lang="de-DE" dirty="0" smtClean="0"/>
              <a:t>2016: </a:t>
            </a:r>
            <a:r>
              <a:rPr lang="de-DE" i="1" dirty="0" smtClean="0"/>
              <a:t>Vielfalt fördern </a:t>
            </a:r>
            <a:r>
              <a:rPr lang="de-DE" dirty="0" smtClean="0"/>
              <a:t>geht nach Sachsen: Eine Entwicklergruppe wird die Inhalte für die sächsischen Schulen adaptieren und sie ihnen zum Schuljahr 2016/17 anbieten.</a:t>
            </a:r>
          </a:p>
          <a:p>
            <a:pPr marL="285750" indent="-285750">
              <a:buFont typeface="Arial" panose="020B0604020202020204" pitchFamily="34" charset="0"/>
              <a:buChar char="•"/>
            </a:pPr>
            <a:r>
              <a:rPr lang="de-DE" dirty="0" smtClean="0"/>
              <a:t>2016: 32 Regionen bieten </a:t>
            </a:r>
            <a:r>
              <a:rPr lang="de-DE" i="1" dirty="0" smtClean="0"/>
              <a:t>Vielfalt fördern </a:t>
            </a:r>
            <a:r>
              <a:rPr lang="de-DE" dirty="0" smtClean="0"/>
              <a:t>an.</a:t>
            </a:r>
            <a:endParaRPr lang="de-DE" dirty="0"/>
          </a:p>
        </p:txBody>
      </p:sp>
    </p:spTree>
    <p:extLst>
      <p:ext uri="{BB962C8B-B14F-4D97-AF65-F5344CB8AC3E}">
        <p14:creationId xmlns:p14="http://schemas.microsoft.com/office/powerpoint/2010/main" val="2286228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txBox="1">
            <a:spLocks/>
          </p:cNvSpPr>
          <p:nvPr/>
        </p:nvSpPr>
        <p:spPr>
          <a:xfrm>
            <a:off x="304800" y="1066800"/>
            <a:ext cx="8382000" cy="685800"/>
          </a:xfrm>
          <a:prstGeom prst="rect">
            <a:avLst/>
          </a:prstGeom>
        </p:spPr>
        <p:txBody>
          <a:bodyPr/>
          <a:lstStyle>
            <a:lvl1pPr algn="l" rtl="0" eaLnBrk="0" fontAlgn="base" hangingPunct="0">
              <a:spcBef>
                <a:spcPct val="0"/>
              </a:spcBef>
              <a:spcAft>
                <a:spcPct val="0"/>
              </a:spcAft>
              <a:defRPr sz="2300" b="1">
                <a:solidFill>
                  <a:schemeClr val="hlink"/>
                </a:solidFill>
                <a:latin typeface="Calibri"/>
                <a:ea typeface="MS PGothic" panose="020B0600070205080204" pitchFamily="34" charset="-128"/>
                <a:cs typeface="Calibri"/>
              </a:defRPr>
            </a:lvl1pPr>
            <a:lvl2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2pPr>
            <a:lvl3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3pPr>
            <a:lvl4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4pPr>
            <a:lvl5pPr algn="l" rtl="0" eaLnBrk="0" fontAlgn="base" hangingPunct="0">
              <a:spcBef>
                <a:spcPct val="0"/>
              </a:spcBef>
              <a:spcAft>
                <a:spcPct val="0"/>
              </a:spcAft>
              <a:defRPr sz="2300" b="1">
                <a:solidFill>
                  <a:schemeClr val="hlink"/>
                </a:solidFill>
                <a:latin typeface="Calibri" charset="0"/>
                <a:ea typeface="MS PGothic" panose="020B0600070205080204" pitchFamily="34" charset="-128"/>
                <a:cs typeface="Calibri" panose="020F0502020204030204" pitchFamily="34" charset="0"/>
              </a:defRPr>
            </a:lvl5pPr>
            <a:lvl6pPr marL="457200" algn="l" rtl="0" eaLnBrk="0" fontAlgn="base" hangingPunct="0">
              <a:spcBef>
                <a:spcPct val="0"/>
              </a:spcBef>
              <a:spcAft>
                <a:spcPct val="0"/>
              </a:spcAft>
              <a:defRPr sz="2400" b="1">
                <a:solidFill>
                  <a:schemeClr val="hlink"/>
                </a:solidFill>
                <a:latin typeface="Arial" charset="0"/>
              </a:defRPr>
            </a:lvl6pPr>
            <a:lvl7pPr marL="914400" algn="l" rtl="0" eaLnBrk="0" fontAlgn="base" hangingPunct="0">
              <a:spcBef>
                <a:spcPct val="0"/>
              </a:spcBef>
              <a:spcAft>
                <a:spcPct val="0"/>
              </a:spcAft>
              <a:defRPr sz="2400" b="1">
                <a:solidFill>
                  <a:schemeClr val="hlink"/>
                </a:solidFill>
                <a:latin typeface="Arial" charset="0"/>
              </a:defRPr>
            </a:lvl7pPr>
            <a:lvl8pPr marL="1371600" algn="l" rtl="0" eaLnBrk="0" fontAlgn="base" hangingPunct="0">
              <a:spcBef>
                <a:spcPct val="0"/>
              </a:spcBef>
              <a:spcAft>
                <a:spcPct val="0"/>
              </a:spcAft>
              <a:defRPr sz="2400" b="1">
                <a:solidFill>
                  <a:schemeClr val="hlink"/>
                </a:solidFill>
                <a:latin typeface="Arial" charset="0"/>
              </a:defRPr>
            </a:lvl8pPr>
            <a:lvl9pPr marL="1828800" algn="l" rtl="0" eaLnBrk="0" fontAlgn="base" hangingPunct="0">
              <a:spcBef>
                <a:spcPct val="0"/>
              </a:spcBef>
              <a:spcAft>
                <a:spcPct val="0"/>
              </a:spcAft>
              <a:defRPr sz="2400" b="1">
                <a:solidFill>
                  <a:schemeClr val="hlink"/>
                </a:solidFill>
                <a:latin typeface="Arial" charset="0"/>
              </a:defRPr>
            </a:lvl9pPr>
          </a:lstStyle>
          <a:p>
            <a:r>
              <a:rPr lang="de-DE" kern="0" dirty="0" smtClean="0">
                <a:solidFill>
                  <a:srgbClr val="003264"/>
                </a:solidFill>
              </a:rPr>
              <a:t>Lernen und Lehren – Potenziale fördern und kompetenzorientiert unterrichten: Beziehung zu den anderen Modulen</a:t>
            </a:r>
          </a:p>
        </p:txBody>
      </p:sp>
      <p:sp>
        <p:nvSpPr>
          <p:cNvPr id="3" name="Abgerundetes Rechteck 2"/>
          <p:cNvSpPr/>
          <p:nvPr/>
        </p:nvSpPr>
        <p:spPr bwMode="auto">
          <a:xfrm>
            <a:off x="2957829" y="2695073"/>
            <a:ext cx="3198679" cy="3035709"/>
          </a:xfrm>
          <a:prstGeom prst="roundRect">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e 3 + 4:  </a:t>
            </a:r>
            <a:r>
              <a:rPr lang="de-DE" sz="1800" b="1" dirty="0" smtClean="0">
                <a:solidFill>
                  <a:srgbClr val="FFFFFF"/>
                </a:solidFill>
                <a:latin typeface="Calibri"/>
                <a:sym typeface="Helvetica Neue" pitchFamily="-123" charset="0"/>
              </a:rPr>
              <a:t>Didaktik</a:t>
            </a:r>
            <a:endParaRPr lang="de-DE" sz="1800" b="1" dirty="0" smtClean="0">
              <a:solidFill>
                <a:srgbClr val="FFFFFF"/>
              </a:solidFill>
              <a:latin typeface="Calibri"/>
            </a:endParaRPr>
          </a:p>
          <a:p>
            <a:pPr marL="1588" algn="ctr" defTabSz="641350" eaLnBrk="1" hangingPunct="1">
              <a:defRPr/>
            </a:pPr>
            <a:r>
              <a:rPr lang="de-DE" sz="1800" dirty="0">
                <a:solidFill>
                  <a:srgbClr val="FFFFFF"/>
                </a:solidFill>
                <a:latin typeface="Calibri"/>
                <a:ea typeface="Helvetica Neue"/>
                <a:cs typeface="Helvetica Neue"/>
                <a:sym typeface="Helvetica Neue"/>
              </a:rPr>
              <a:t>Wie muss ich Unterricht gestalten, damit </a:t>
            </a:r>
            <a:br>
              <a:rPr lang="de-DE" sz="1800" dirty="0">
                <a:solidFill>
                  <a:srgbClr val="FFFFFF"/>
                </a:solidFill>
                <a:latin typeface="Calibri"/>
                <a:ea typeface="Helvetica Neue"/>
                <a:cs typeface="Helvetica Neue"/>
                <a:sym typeface="Helvetica Neue"/>
              </a:rPr>
            </a:br>
            <a:r>
              <a:rPr lang="de-DE" sz="1800" dirty="0" smtClean="0">
                <a:solidFill>
                  <a:srgbClr val="FFFFFF"/>
                </a:solidFill>
                <a:latin typeface="Calibri"/>
                <a:ea typeface="Helvetica Neue"/>
                <a:cs typeface="Helvetica Neue"/>
                <a:sym typeface="Helvetica Neue"/>
              </a:rPr>
              <a:t>Schüler/innen </a:t>
            </a:r>
            <a:r>
              <a:rPr lang="de-DE" sz="1800" dirty="0">
                <a:solidFill>
                  <a:srgbClr val="FFFFFF"/>
                </a:solidFill>
                <a:latin typeface="Calibri"/>
                <a:ea typeface="Helvetica Neue"/>
                <a:cs typeface="Helvetica Neue"/>
                <a:sym typeface="Helvetica Neue"/>
              </a:rPr>
              <a:t>ihren Potenzialen gemäß </a:t>
            </a:r>
            <a:r>
              <a:rPr lang="de-DE" sz="1800" dirty="0" smtClean="0">
                <a:solidFill>
                  <a:srgbClr val="FFFFFF"/>
                </a:solidFill>
                <a:latin typeface="Calibri"/>
                <a:ea typeface="Helvetica Neue"/>
                <a:cs typeface="Helvetica Neue"/>
                <a:sym typeface="Helvetica Neue"/>
              </a:rPr>
              <a:t/>
            </a:r>
            <a:br>
              <a:rPr lang="de-DE" sz="1800" dirty="0" smtClean="0">
                <a:solidFill>
                  <a:srgbClr val="FFFFFF"/>
                </a:solidFill>
                <a:latin typeface="Calibri"/>
                <a:ea typeface="Helvetica Neue"/>
                <a:cs typeface="Helvetica Neue"/>
                <a:sym typeface="Helvetica Neue"/>
              </a:rPr>
            </a:br>
            <a:r>
              <a:rPr lang="de-DE" sz="1800" dirty="0" smtClean="0">
                <a:solidFill>
                  <a:srgbClr val="FFFFFF"/>
                </a:solidFill>
                <a:latin typeface="Calibri"/>
                <a:ea typeface="Helvetica Neue"/>
                <a:cs typeface="Helvetica Neue"/>
                <a:sym typeface="Helvetica Neue"/>
              </a:rPr>
              <a:t>erfolgreich </a:t>
            </a:r>
            <a:r>
              <a:rPr lang="de-DE" sz="1800" dirty="0">
                <a:solidFill>
                  <a:srgbClr val="FFFFFF"/>
                </a:solidFill>
                <a:latin typeface="Calibri"/>
                <a:ea typeface="Helvetica Neue"/>
                <a:cs typeface="Helvetica Neue"/>
                <a:sym typeface="Helvetica Neue"/>
              </a:rPr>
              <a:t>lernen können? </a:t>
            </a:r>
          </a:p>
        </p:txBody>
      </p:sp>
      <p:sp>
        <p:nvSpPr>
          <p:cNvPr id="4" name="Ellipse 3"/>
          <p:cNvSpPr/>
          <p:nvPr/>
        </p:nvSpPr>
        <p:spPr bwMode="auto">
          <a:xfrm>
            <a:off x="228600" y="2667000"/>
            <a:ext cx="2971800" cy="2971800"/>
          </a:xfrm>
          <a:prstGeom prst="ellipse">
            <a:avLst/>
          </a:prstGeom>
          <a:solidFill>
            <a:schemeClr val="accent1"/>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 1:  </a:t>
            </a:r>
            <a:r>
              <a:rPr lang="de-DE" sz="1800" b="1" dirty="0" smtClean="0">
                <a:solidFill>
                  <a:srgbClr val="FFFFFF"/>
                </a:solidFill>
                <a:latin typeface="Calibri"/>
                <a:sym typeface="Helvetica Neue" pitchFamily="-123" charset="0"/>
              </a:rPr>
              <a:t>Teamentwicklung</a:t>
            </a:r>
          </a:p>
          <a:p>
            <a:pPr algn="ctr" defTabSz="641350" eaLnBrk="1" hangingPunct="1">
              <a:defRPr/>
            </a:pPr>
            <a:r>
              <a:rPr lang="de-DE" sz="1800" dirty="0">
                <a:solidFill>
                  <a:srgbClr val="FFFFFF"/>
                </a:solidFill>
                <a:latin typeface="Calibri"/>
                <a:ea typeface="Helvetica Neue"/>
                <a:cs typeface="Helvetica Neue"/>
                <a:sym typeface="Helvetica Neue"/>
              </a:rPr>
              <a:t>Wer hilft mir dabei? </a:t>
            </a:r>
          </a:p>
        </p:txBody>
      </p:sp>
      <p:sp>
        <p:nvSpPr>
          <p:cNvPr id="5" name="Ellipse 4"/>
          <p:cNvSpPr/>
          <p:nvPr/>
        </p:nvSpPr>
        <p:spPr bwMode="auto">
          <a:xfrm>
            <a:off x="5867400" y="2667000"/>
            <a:ext cx="2971800" cy="2971800"/>
          </a:xfrm>
          <a:prstGeom prst="ellipse">
            <a:avLst/>
          </a:prstGeom>
          <a:solidFill>
            <a:schemeClr val="accent4"/>
          </a:solidFill>
          <a:ln w="12700" cap="flat" cmpd="sng" algn="ctr">
            <a:noFill/>
            <a:prstDash val="solid"/>
            <a:round/>
            <a:headEnd type="none" w="med" len="med"/>
            <a:tailEnd type="none" w="med" len="med"/>
          </a:ln>
          <a:effectLst/>
        </p:spPr>
        <p:txBody>
          <a:bodyPr lIns="0" tIns="0" rIns="0" bIns="0" anchor="ctr"/>
          <a:lstStyle/>
          <a:p>
            <a:pPr algn="ctr" defTabSz="641350" eaLnBrk="1" hangingPunct="1">
              <a:defRPr/>
            </a:pPr>
            <a:r>
              <a:rPr lang="de-DE" sz="1800" b="1" dirty="0">
                <a:solidFill>
                  <a:srgbClr val="FFFFFF"/>
                </a:solidFill>
                <a:latin typeface="Calibri"/>
                <a:sym typeface="Helvetica Neue" pitchFamily="-123" charset="0"/>
              </a:rPr>
              <a:t>Module 2: </a:t>
            </a:r>
            <a:r>
              <a:rPr lang="de-DE" sz="1800" b="1" dirty="0" smtClean="0">
                <a:solidFill>
                  <a:srgbClr val="FFFFFF"/>
                </a:solidFill>
                <a:latin typeface="Calibri"/>
                <a:sym typeface="Helvetica Neue" pitchFamily="-123" charset="0"/>
              </a:rPr>
              <a:t>Diagnostik</a:t>
            </a:r>
          </a:p>
          <a:p>
            <a:pPr algn="ctr" defTabSz="641350" eaLnBrk="1" hangingPunct="1">
              <a:defRPr/>
            </a:pPr>
            <a:r>
              <a:rPr lang="de-DE" sz="1800" dirty="0">
                <a:solidFill>
                  <a:srgbClr val="FFFFFF"/>
                </a:solidFill>
                <a:latin typeface="Calibri"/>
                <a:sym typeface="Helvetica Neue" pitchFamily="-123" charset="0"/>
              </a:rPr>
              <a:t>Wie ermittle ich Potenziale der </a:t>
            </a:r>
            <a:r>
              <a:rPr lang="de-DE" sz="1800" dirty="0" smtClean="0">
                <a:solidFill>
                  <a:srgbClr val="FFFFFF"/>
                </a:solidFill>
                <a:latin typeface="Calibri"/>
                <a:sym typeface="Helvetica Neue" pitchFamily="-123" charset="0"/>
              </a:rPr>
              <a:t>Schüler/innen?</a:t>
            </a:r>
            <a:endParaRPr lang="de-DE" sz="1800" dirty="0">
              <a:solidFill>
                <a:srgbClr val="FFFFFF"/>
              </a:solidFill>
              <a:latin typeface="Calibri"/>
              <a:sym typeface="Helvetica Neue" pitchFamily="-123" charset="0"/>
            </a:endParaRPr>
          </a:p>
        </p:txBody>
      </p:sp>
    </p:spTree>
    <p:extLst>
      <p:ext uri="{BB962C8B-B14F-4D97-AF65-F5344CB8AC3E}">
        <p14:creationId xmlns:p14="http://schemas.microsoft.com/office/powerpoint/2010/main" val="880094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bgerundetes Rechteck 6"/>
          <p:cNvSpPr/>
          <p:nvPr/>
        </p:nvSpPr>
        <p:spPr bwMode="auto">
          <a:xfrm>
            <a:off x="381000" y="3592975"/>
            <a:ext cx="8382000" cy="3124200"/>
          </a:xfrm>
          <a:prstGeom prst="roundRect">
            <a:avLst>
              <a:gd name="adj" fmla="val 4554"/>
            </a:avLst>
          </a:prstGeom>
          <a:solidFill>
            <a:schemeClr val="accent5">
              <a:alpha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361950" indent="-180975">
              <a:spcAft>
                <a:spcPts val="600"/>
              </a:spcAft>
              <a:defRPr/>
            </a:pPr>
            <a:r>
              <a:rPr lang="de-DE" b="1" dirty="0">
                <a:solidFill>
                  <a:srgbClr val="003264"/>
                </a:solidFill>
                <a:ea typeface="MS PGothic" pitchFamily="34" charset="-128"/>
              </a:rPr>
              <a:t>	</a:t>
            </a:r>
            <a:r>
              <a:rPr lang="de-DE" sz="1800" b="1" dirty="0">
                <a:solidFill>
                  <a:srgbClr val="003264"/>
                </a:solidFill>
                <a:ea typeface="MS PGothic" pitchFamily="34" charset="-128"/>
              </a:rPr>
              <a:t>Entwicklung der Module durch erfahrene Fortbildner/innen mit Schulsystemerfahrung auf unterschiedlichen Ebenen</a:t>
            </a:r>
          </a:p>
          <a:p>
            <a:pPr marL="361950" indent="-180975">
              <a:spcAft>
                <a:spcPts val="300"/>
              </a:spcAft>
              <a:buFontTx/>
              <a:buChar char="•"/>
              <a:defRPr/>
            </a:pPr>
            <a:r>
              <a:rPr lang="de-DE" sz="1800" dirty="0">
                <a:solidFill>
                  <a:srgbClr val="003264"/>
                </a:solidFill>
                <a:ea typeface="MS PGothic" pitchFamily="34" charset="-128"/>
              </a:rPr>
              <a:t>Expertise aus unterschiedlichen Ansätzen wurde genutzt (z. B. SINUS, Lernen und Lehren für die Zukunft, kooperatives Lernen, for.mat)</a:t>
            </a:r>
          </a:p>
          <a:p>
            <a:pPr marL="361950" indent="-180975">
              <a:spcAft>
                <a:spcPts val="300"/>
              </a:spcAft>
              <a:buFontTx/>
              <a:buChar char="•"/>
              <a:defRPr/>
            </a:pPr>
            <a:r>
              <a:rPr lang="de-DE" sz="1800" dirty="0">
                <a:solidFill>
                  <a:srgbClr val="003264"/>
                </a:solidFill>
                <a:ea typeface="MS PGothic" pitchFamily="34" charset="-128"/>
              </a:rPr>
              <a:t>Neues Konzept wurde entwickelt</a:t>
            </a:r>
          </a:p>
          <a:p>
            <a:pPr marL="361950" indent="-180975">
              <a:spcAft>
                <a:spcPts val="300"/>
              </a:spcAft>
              <a:buFontTx/>
              <a:buChar char="•"/>
              <a:defRPr/>
            </a:pPr>
            <a:r>
              <a:rPr lang="de-DE" sz="1800" dirty="0">
                <a:solidFill>
                  <a:srgbClr val="003264"/>
                </a:solidFill>
                <a:ea typeface="MS PGothic" pitchFamily="34" charset="-128"/>
              </a:rPr>
              <a:t>Bezug zu den Kernfächern im Diagnostik-Modul und in den Didaktik-Modulen</a:t>
            </a:r>
          </a:p>
          <a:p>
            <a:pPr marL="361950" indent="-180975">
              <a:spcAft>
                <a:spcPts val="300"/>
              </a:spcAft>
              <a:buFontTx/>
              <a:buChar char="•"/>
              <a:defRPr/>
            </a:pPr>
            <a:r>
              <a:rPr lang="de-DE" sz="1800" dirty="0">
                <a:solidFill>
                  <a:srgbClr val="003264"/>
                </a:solidFill>
                <a:ea typeface="MS PGothic" pitchFamily="34" charset="-128"/>
              </a:rPr>
              <a:t>Abdeckung der Kernfächer </a:t>
            </a:r>
            <a:endParaRPr lang="de-DE" sz="1800" dirty="0" smtClean="0">
              <a:solidFill>
                <a:srgbClr val="003264"/>
              </a:solidFill>
              <a:ea typeface="MS PGothic" pitchFamily="34" charset="-128"/>
            </a:endParaRPr>
          </a:p>
          <a:p>
            <a:pPr marL="361950" indent="-180975">
              <a:spcAft>
                <a:spcPts val="300"/>
              </a:spcAft>
              <a:buFontTx/>
              <a:buChar char="•"/>
              <a:defRPr/>
            </a:pPr>
            <a:endParaRPr lang="de-DE" sz="1800" dirty="0">
              <a:solidFill>
                <a:srgbClr val="003264"/>
              </a:solidFill>
              <a:ea typeface="MS PGothic" pitchFamily="34" charset="-128"/>
            </a:endParaRPr>
          </a:p>
          <a:p>
            <a:pPr marL="180975">
              <a:spcAft>
                <a:spcPts val="300"/>
              </a:spcAft>
              <a:defRPr/>
            </a:pPr>
            <a:r>
              <a:rPr lang="de-DE" sz="1800" dirty="0" smtClean="0">
                <a:solidFill>
                  <a:srgbClr val="003264"/>
                </a:solidFill>
                <a:ea typeface="MS PGothic" pitchFamily="34" charset="-128"/>
              </a:rPr>
              <a:t>Die Entwicklungsgruppe besteht momentan aus neun Mitgliedern.</a:t>
            </a:r>
            <a:endParaRPr lang="de-DE" sz="1800" dirty="0">
              <a:solidFill>
                <a:srgbClr val="003264"/>
              </a:solidFill>
              <a:ea typeface="MS PGothic" pitchFamily="34" charset="-128"/>
            </a:endParaRPr>
          </a:p>
        </p:txBody>
      </p:sp>
      <p:sp>
        <p:nvSpPr>
          <p:cNvPr id="6" name="Abgerundetes Rechteck 5"/>
          <p:cNvSpPr/>
          <p:nvPr/>
        </p:nvSpPr>
        <p:spPr bwMode="auto">
          <a:xfrm>
            <a:off x="1808163" y="2001838"/>
            <a:ext cx="5562600" cy="1350962"/>
          </a:xfrm>
          <a:prstGeom prst="roundRect">
            <a:avLst/>
          </a:prstGeom>
          <a:solidFill>
            <a:schemeClr val="accent5">
              <a:alpha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b="1" dirty="0">
              <a:solidFill>
                <a:srgbClr val="002060"/>
              </a:solidFill>
              <a:ea typeface="MS PGothic" pitchFamily="34" charset="-128"/>
            </a:endParaRPr>
          </a:p>
          <a:p>
            <a:pPr algn="ctr">
              <a:defRPr/>
            </a:pPr>
            <a:r>
              <a:rPr lang="de-DE" sz="1800" b="1" dirty="0">
                <a:solidFill>
                  <a:srgbClr val="002060"/>
                </a:solidFill>
                <a:ea typeface="MS PGothic" pitchFamily="34" charset="-128"/>
              </a:rPr>
              <a:t>Wissenschaftliche Leitung: </a:t>
            </a:r>
            <a:r>
              <a:rPr lang="de-DE" sz="1800" b="1" dirty="0" smtClean="0">
                <a:solidFill>
                  <a:srgbClr val="002060"/>
                </a:solidFill>
                <a:ea typeface="MS PGothic" pitchFamily="34" charset="-128"/>
              </a:rPr>
              <a:t/>
            </a:r>
            <a:br>
              <a:rPr lang="de-DE" sz="1800" b="1" dirty="0" smtClean="0">
                <a:solidFill>
                  <a:srgbClr val="002060"/>
                </a:solidFill>
                <a:ea typeface="MS PGothic" pitchFamily="34" charset="-128"/>
              </a:rPr>
            </a:br>
            <a:r>
              <a:rPr lang="de-DE" sz="1800" dirty="0" smtClean="0">
                <a:solidFill>
                  <a:srgbClr val="002060"/>
                </a:solidFill>
                <a:ea typeface="MS PGothic" pitchFamily="34" charset="-128"/>
              </a:rPr>
              <a:t>Prof</a:t>
            </a:r>
            <a:r>
              <a:rPr lang="de-DE" sz="1800" dirty="0">
                <a:solidFill>
                  <a:srgbClr val="002060"/>
                </a:solidFill>
                <a:ea typeface="MS PGothic" pitchFamily="34" charset="-128"/>
              </a:rPr>
              <a:t>. Dr. Christian Fischer </a:t>
            </a:r>
            <a:r>
              <a:rPr lang="de-DE" sz="1800" dirty="0" smtClean="0">
                <a:solidFill>
                  <a:srgbClr val="002060"/>
                </a:solidFill>
                <a:ea typeface="MS PGothic" pitchFamily="34" charset="-128"/>
              </a:rPr>
              <a:t>und Prof</a:t>
            </a:r>
            <a:r>
              <a:rPr lang="de-DE" altLang="de-DE" sz="1800" dirty="0">
                <a:solidFill>
                  <a:srgbClr val="002060"/>
                </a:solidFill>
                <a:ea typeface="MS PGothic" pitchFamily="34" charset="-128"/>
              </a:rPr>
              <a:t>‘</a:t>
            </a:r>
            <a:r>
              <a:rPr lang="de-DE" sz="1800" dirty="0">
                <a:solidFill>
                  <a:srgbClr val="002060"/>
                </a:solidFill>
                <a:ea typeface="MS PGothic" pitchFamily="34" charset="-128"/>
              </a:rPr>
              <a:t>. Dr. Bettina Amrhein </a:t>
            </a:r>
          </a:p>
          <a:p>
            <a:pPr algn="ctr">
              <a:defRPr/>
            </a:pPr>
            <a:endParaRPr lang="de-DE" sz="1200" dirty="0">
              <a:solidFill>
                <a:srgbClr val="002060"/>
              </a:solidFill>
              <a:ea typeface="MS PGothic" pitchFamily="34" charset="-128"/>
            </a:endParaRPr>
          </a:p>
          <a:p>
            <a:pPr algn="ctr">
              <a:defRPr/>
            </a:pPr>
            <a:r>
              <a:rPr lang="de-DE" sz="1800" dirty="0">
                <a:solidFill>
                  <a:srgbClr val="002060"/>
                </a:solidFill>
                <a:ea typeface="MS PGothic" pitchFamily="34" charset="-128"/>
              </a:rPr>
              <a:t>Auch: Hinzuziehung weiterer Wissenschaftler/innen</a:t>
            </a:r>
          </a:p>
          <a:p>
            <a:pPr algn="ctr">
              <a:defRPr/>
            </a:pPr>
            <a:endParaRPr lang="de-DE" dirty="0">
              <a:solidFill>
                <a:srgbClr val="002060"/>
              </a:solidFill>
              <a:ea typeface="MS PGothic" pitchFamily="34" charset="-128"/>
            </a:endParaRPr>
          </a:p>
        </p:txBody>
      </p:sp>
      <p:sp>
        <p:nvSpPr>
          <p:cNvPr id="26628" name="Textfeld 2"/>
          <p:cNvSpPr txBox="1">
            <a:spLocks noChangeArrowheads="1"/>
          </p:cNvSpPr>
          <p:nvPr/>
        </p:nvSpPr>
        <p:spPr bwMode="auto">
          <a:xfrm>
            <a:off x="228600" y="846138"/>
            <a:ext cx="85344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b="1" dirty="0" smtClean="0">
                <a:solidFill>
                  <a:srgbClr val="002060"/>
                </a:solidFill>
                <a:latin typeface="Calibri" panose="020F0502020204030204" pitchFamily="34" charset="0"/>
              </a:rPr>
              <a:t>Die Module für die Qualifizierung wurden in der </a:t>
            </a:r>
          </a:p>
          <a:p>
            <a:pPr eaLnBrk="1" hangingPunct="1"/>
            <a:r>
              <a:rPr lang="de-DE" altLang="de-DE" b="1" dirty="0" smtClean="0">
                <a:solidFill>
                  <a:srgbClr val="002060"/>
                </a:solidFill>
                <a:latin typeface="Calibri" panose="020F0502020204030204" pitchFamily="34" charset="0"/>
              </a:rPr>
              <a:t>„Entwicklungsgruppe“ erarbeitet</a:t>
            </a:r>
          </a:p>
        </p:txBody>
      </p:sp>
    </p:spTree>
    <p:extLst>
      <p:ext uri="{BB962C8B-B14F-4D97-AF65-F5344CB8AC3E}">
        <p14:creationId xmlns:p14="http://schemas.microsoft.com/office/powerpoint/2010/main" val="35887967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228600" y="990600"/>
            <a:ext cx="8534400" cy="830262"/>
          </a:xfrm>
          <a:prstGeom prst="rect">
            <a:avLst/>
          </a:prstGeom>
          <a:noFill/>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b="1" dirty="0">
                <a:solidFill>
                  <a:srgbClr val="002060"/>
                </a:solidFill>
                <a:latin typeface="Calibri" panose="020F0502020204030204" pitchFamily="34" charset="0"/>
              </a:rPr>
              <a:t>Bei der Entwicklung der Qualifizierung wurden und werden vielfältige Faktoren berücksichtigt</a:t>
            </a:r>
          </a:p>
        </p:txBody>
      </p:sp>
      <p:sp>
        <p:nvSpPr>
          <p:cNvPr id="8" name="Abgerundetes Rechteck 7"/>
          <p:cNvSpPr/>
          <p:nvPr/>
        </p:nvSpPr>
        <p:spPr bwMode="auto">
          <a:xfrm>
            <a:off x="3505200" y="3581400"/>
            <a:ext cx="2286000" cy="1295400"/>
          </a:xfrm>
          <a:prstGeom prst="roundRect">
            <a:avLst/>
          </a:prstGeom>
          <a:solidFill>
            <a:schemeClr val="accent5">
              <a:lumMod val="75000"/>
            </a:schemeClr>
          </a:solidFill>
          <a:ln w="12700" cap="flat" cmpd="sng" algn="ctr">
            <a:solidFill>
              <a:schemeClr val="accent5">
                <a:lumMod val="75000"/>
              </a:schemeClr>
            </a:solidFill>
            <a:prstDash val="solid"/>
            <a:round/>
            <a:headEnd type="none" w="med" len="med"/>
            <a:tailEnd type="none" w="med" len="med"/>
          </a:ln>
          <a:effectLst/>
        </p:spPr>
        <p:txBody>
          <a:bodyPr lIns="0" tIns="0" rIns="0" bIns="0" anchor="ctr"/>
          <a:lstStyle/>
          <a:p>
            <a:pPr algn="ctr">
              <a:defRPr/>
            </a:pPr>
            <a:r>
              <a:rPr lang="de-DE" sz="2000" b="1" dirty="0">
                <a:solidFill>
                  <a:srgbClr val="FFFFFF"/>
                </a:solidFill>
                <a:latin typeface="Calibri"/>
                <a:ea typeface="ＭＳ Ｐゴシック" charset="0"/>
                <a:cs typeface="ＭＳ Ｐゴシック" charset="0"/>
              </a:rPr>
              <a:t>Erarbeitung und Weiterentwicklung der Module</a:t>
            </a:r>
          </a:p>
        </p:txBody>
      </p:sp>
      <p:sp>
        <p:nvSpPr>
          <p:cNvPr id="10" name="Abgerundete rechteckige Legende 9"/>
          <p:cNvSpPr/>
          <p:nvPr/>
        </p:nvSpPr>
        <p:spPr bwMode="auto">
          <a:xfrm>
            <a:off x="4645241" y="1952348"/>
            <a:ext cx="1828800" cy="1295400"/>
          </a:xfrm>
          <a:prstGeom prst="wedgeRoundRectCallout">
            <a:avLst>
              <a:gd name="adj1" fmla="val -28441"/>
              <a:gd name="adj2" fmla="val 73577"/>
              <a:gd name="adj3" fmla="val 16667"/>
            </a:avLst>
          </a:prstGeom>
          <a:solidFill>
            <a:schemeClr val="accent5">
              <a:lumMod val="40000"/>
              <a:lumOff val="60000"/>
            </a:schemeClr>
          </a:solidFill>
          <a:ln w="12700" cap="flat" cmpd="sng" algn="ctr">
            <a:solidFill>
              <a:schemeClr val="accent5">
                <a:lumMod val="40000"/>
                <a:lumOff val="60000"/>
              </a:schemeClr>
            </a:solidFill>
            <a:prstDash val="solid"/>
            <a:round/>
            <a:headEnd type="none" w="med" len="med"/>
            <a:tailEnd type="none" w="med" len="med"/>
          </a:ln>
          <a:effectLst/>
        </p:spPr>
        <p:txBody>
          <a:bodyPr lIns="0" tIns="0" rIns="0" bIns="0" anchor="ctr"/>
          <a:lstStyle/>
          <a:p>
            <a:pPr algn="ctr">
              <a:defRPr/>
            </a:pPr>
            <a:r>
              <a:rPr lang="de-DE" sz="1800" dirty="0">
                <a:solidFill>
                  <a:srgbClr val="002060"/>
                </a:solidFill>
                <a:latin typeface="Calibri"/>
                <a:ea typeface="ＭＳ Ｐゴシック" charset="0"/>
                <a:cs typeface="ＭＳ Ｐゴシック" charset="0"/>
              </a:rPr>
              <a:t>fundierte Konzepte aus der Praxis</a:t>
            </a:r>
            <a:endParaRPr lang="de-DE" sz="1800" dirty="0">
              <a:solidFill>
                <a:srgbClr val="003264"/>
              </a:solidFill>
              <a:latin typeface="Calibri"/>
              <a:ea typeface="ＭＳ Ｐゴシック" charset="0"/>
              <a:cs typeface="ＭＳ Ｐゴシック" charset="0"/>
            </a:endParaRPr>
          </a:p>
        </p:txBody>
      </p:sp>
      <p:sp>
        <p:nvSpPr>
          <p:cNvPr id="11" name="Abgerundete rechteckige Legende 10"/>
          <p:cNvSpPr/>
          <p:nvPr/>
        </p:nvSpPr>
        <p:spPr bwMode="auto">
          <a:xfrm>
            <a:off x="6310174" y="3916532"/>
            <a:ext cx="1981200" cy="1295400"/>
          </a:xfrm>
          <a:prstGeom prst="wedgeRoundRectCallout">
            <a:avLst>
              <a:gd name="adj1" fmla="val -73338"/>
              <a:gd name="adj2" fmla="val -39278"/>
              <a:gd name="adj3" fmla="val 16667"/>
            </a:avLst>
          </a:prstGeom>
          <a:solidFill>
            <a:schemeClr val="accent5">
              <a:lumMod val="40000"/>
              <a:lumOff val="60000"/>
            </a:schemeClr>
          </a:solidFill>
          <a:ln w="12700" cap="flat" cmpd="sng" algn="ctr">
            <a:solidFill>
              <a:schemeClr val="accent5">
                <a:lumMod val="40000"/>
                <a:lumOff val="60000"/>
              </a:schemeClr>
            </a:solidFill>
            <a:prstDash val="solid"/>
            <a:round/>
            <a:headEnd type="none" w="med" len="med"/>
            <a:tailEnd type="none" w="med" len="med"/>
          </a:ln>
          <a:effectLst/>
        </p:spPr>
        <p:txBody>
          <a:bodyPr lIns="0" tIns="0" rIns="0" bIns="0" anchor="ctr"/>
          <a:lstStyle/>
          <a:p>
            <a:pPr algn="ctr">
              <a:defRPr/>
            </a:pPr>
            <a:r>
              <a:rPr lang="de-DE" sz="1800" dirty="0">
                <a:solidFill>
                  <a:srgbClr val="002060"/>
                </a:solidFill>
                <a:latin typeface="Calibri"/>
                <a:ea typeface="ＭＳ Ｐゴシック" charset="0"/>
                <a:cs typeface="ＭＳ Ｐゴシック" charset="0"/>
              </a:rPr>
              <a:t>Wissenschaftliche Erkenntnisse</a:t>
            </a:r>
            <a:endParaRPr lang="de-DE" sz="1800" dirty="0">
              <a:solidFill>
                <a:srgbClr val="003264"/>
              </a:solidFill>
              <a:latin typeface="Calibri"/>
              <a:ea typeface="ＭＳ Ｐゴシック" charset="0"/>
              <a:cs typeface="ＭＳ Ｐゴシック" charset="0"/>
            </a:endParaRPr>
          </a:p>
        </p:txBody>
      </p:sp>
      <p:sp>
        <p:nvSpPr>
          <p:cNvPr id="12" name="Abgerundete rechteckige Legende 11"/>
          <p:cNvSpPr/>
          <p:nvPr/>
        </p:nvSpPr>
        <p:spPr bwMode="auto">
          <a:xfrm>
            <a:off x="1219200" y="2590800"/>
            <a:ext cx="1981200" cy="1295400"/>
          </a:xfrm>
          <a:prstGeom prst="wedgeRoundRectCallout">
            <a:avLst>
              <a:gd name="adj1" fmla="val 64405"/>
              <a:gd name="adj2" fmla="val 73035"/>
              <a:gd name="adj3" fmla="val 16667"/>
            </a:avLst>
          </a:prstGeom>
          <a:solidFill>
            <a:schemeClr val="accent5">
              <a:lumMod val="40000"/>
              <a:lumOff val="60000"/>
            </a:schemeClr>
          </a:solidFill>
          <a:ln w="12700" cap="flat" cmpd="sng" algn="ctr">
            <a:solidFill>
              <a:schemeClr val="accent5">
                <a:lumMod val="40000"/>
                <a:lumOff val="60000"/>
              </a:schemeClr>
            </a:solidFill>
            <a:prstDash val="solid"/>
            <a:round/>
            <a:headEnd type="none" w="med" len="med"/>
            <a:tailEnd type="none" w="med" len="med"/>
          </a:ln>
          <a:effec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r>
              <a:rPr lang="de-DE" altLang="de-DE" sz="1800" dirty="0">
                <a:solidFill>
                  <a:srgbClr val="002060"/>
                </a:solidFill>
                <a:latin typeface="Calibri" panose="020F0502020204030204" pitchFamily="34" charset="0"/>
              </a:rPr>
              <a:t>Rückmeldungen aus den Projektschulen</a:t>
            </a:r>
            <a:endParaRPr lang="de-DE" altLang="de-DE" sz="1800" dirty="0">
              <a:solidFill>
                <a:srgbClr val="003264"/>
              </a:solidFill>
              <a:latin typeface="Calibri" panose="020F0502020204030204" pitchFamily="34" charset="0"/>
            </a:endParaRPr>
          </a:p>
        </p:txBody>
      </p:sp>
      <p:sp>
        <p:nvSpPr>
          <p:cNvPr id="13" name="Abgerundete rechteckige Legende 12"/>
          <p:cNvSpPr/>
          <p:nvPr/>
        </p:nvSpPr>
        <p:spPr bwMode="auto">
          <a:xfrm>
            <a:off x="1295400" y="4876800"/>
            <a:ext cx="1981200" cy="1295400"/>
          </a:xfrm>
          <a:prstGeom prst="wedgeRoundRectCallout">
            <a:avLst>
              <a:gd name="adj1" fmla="val 63238"/>
              <a:gd name="adj2" fmla="val -50617"/>
              <a:gd name="adj3" fmla="val 16667"/>
            </a:avLst>
          </a:prstGeom>
          <a:solidFill>
            <a:schemeClr val="accent5">
              <a:lumMod val="40000"/>
              <a:lumOff val="60000"/>
            </a:schemeClr>
          </a:solidFill>
          <a:ln w="12700" cap="flat" cmpd="sng" algn="ctr">
            <a:solidFill>
              <a:schemeClr val="accent5">
                <a:lumMod val="40000"/>
                <a:lumOff val="60000"/>
              </a:schemeClr>
            </a:solidFill>
            <a:prstDash val="solid"/>
            <a:round/>
            <a:headEnd type="none" w="med" len="med"/>
            <a:tailEnd type="none" w="med" len="med"/>
          </a:ln>
          <a:effectLst/>
        </p:spPr>
        <p:txBody>
          <a:bodyPr lIns="0" tIns="0" rIns="0" bIns="0" anchor="ctr"/>
          <a:lstStyle/>
          <a:p>
            <a:pPr algn="ctr">
              <a:defRPr/>
            </a:pPr>
            <a:r>
              <a:rPr lang="de-DE" sz="1800" dirty="0">
                <a:solidFill>
                  <a:srgbClr val="002060"/>
                </a:solidFill>
                <a:latin typeface="Calibri"/>
                <a:ea typeface="ＭＳ Ｐゴシック" charset="0"/>
                <a:cs typeface="ＭＳ Ｐゴシック" charset="0"/>
              </a:rPr>
              <a:t>Erfahrungen der Moderator/innen</a:t>
            </a:r>
            <a:endParaRPr lang="de-DE" sz="1800" dirty="0">
              <a:solidFill>
                <a:srgbClr val="003264"/>
              </a:solidFill>
              <a:latin typeface="Calibri"/>
              <a:ea typeface="ＭＳ Ｐゴシック" charset="0"/>
              <a:cs typeface="ＭＳ Ｐゴシック" charset="0"/>
            </a:endParaRPr>
          </a:p>
        </p:txBody>
      </p:sp>
      <p:sp>
        <p:nvSpPr>
          <p:cNvPr id="9" name="Abgerundete rechteckige Legende 8"/>
          <p:cNvSpPr/>
          <p:nvPr/>
        </p:nvSpPr>
        <p:spPr bwMode="auto">
          <a:xfrm>
            <a:off x="4495800" y="5410200"/>
            <a:ext cx="1828800" cy="1295400"/>
          </a:xfrm>
          <a:prstGeom prst="wedgeRoundRectCallout">
            <a:avLst>
              <a:gd name="adj1" fmla="val -19218"/>
              <a:gd name="adj2" fmla="val -92956"/>
              <a:gd name="adj3" fmla="val 16667"/>
            </a:avLst>
          </a:prstGeom>
          <a:solidFill>
            <a:schemeClr val="accent5">
              <a:lumMod val="40000"/>
              <a:lumOff val="60000"/>
            </a:schemeClr>
          </a:solidFill>
          <a:ln w="12700" cap="flat" cmpd="sng" algn="ctr">
            <a:solidFill>
              <a:schemeClr val="accent5">
                <a:lumMod val="40000"/>
                <a:lumOff val="60000"/>
              </a:schemeClr>
            </a:solidFill>
            <a:prstDash val="solid"/>
            <a:round/>
            <a:headEnd type="none" w="med" len="med"/>
            <a:tailEnd type="none" w="med" len="med"/>
          </a:ln>
          <a:effectLst/>
        </p:spPr>
        <p:txBody>
          <a:bodyPr lIns="0" tIns="0" rIns="0" bIns="0" anchor="ctr"/>
          <a:lstStyle/>
          <a:p>
            <a:pPr algn="ctr">
              <a:defRPr/>
            </a:pPr>
            <a:r>
              <a:rPr lang="de-DE" sz="1800" dirty="0" smtClean="0">
                <a:solidFill>
                  <a:srgbClr val="002060"/>
                </a:solidFill>
                <a:latin typeface="Calibri"/>
                <a:ea typeface="ＭＳ Ｐゴシック" charset="0"/>
                <a:cs typeface="ＭＳ Ｐゴシック" charset="0"/>
              </a:rPr>
              <a:t>Erkenntnisse aus der Evaluation</a:t>
            </a:r>
            <a:endParaRPr lang="de-DE" sz="1800" dirty="0">
              <a:solidFill>
                <a:srgbClr val="003264"/>
              </a:solidFill>
              <a:latin typeface="Calibri"/>
              <a:ea typeface="ＭＳ Ｐゴシック" charset="0"/>
              <a:cs typeface="ＭＳ Ｐゴシック" charset="0"/>
            </a:endParaRPr>
          </a:p>
        </p:txBody>
      </p:sp>
    </p:spTree>
    <p:extLst>
      <p:ext uri="{BB962C8B-B14F-4D97-AF65-F5344CB8AC3E}">
        <p14:creationId xmlns:p14="http://schemas.microsoft.com/office/powerpoint/2010/main" val="3562586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el 1"/>
          <p:cNvSpPr>
            <a:spLocks noGrp="1"/>
          </p:cNvSpPr>
          <p:nvPr>
            <p:ph type="title"/>
          </p:nvPr>
        </p:nvSpPr>
        <p:spPr>
          <a:xfrm>
            <a:off x="381000" y="1038225"/>
            <a:ext cx="8305800" cy="685800"/>
          </a:xfrm>
        </p:spPr>
        <p:txBody>
          <a:bodyPr/>
          <a:lstStyle/>
          <a:p>
            <a:r>
              <a:rPr lang="de-DE" dirty="0" smtClean="0"/>
              <a:t>Aufbau der Qualifizierung</a:t>
            </a:r>
          </a:p>
        </p:txBody>
      </p:sp>
      <p:sp>
        <p:nvSpPr>
          <p:cNvPr id="3" name="Inhaltsplatzhalter 2"/>
          <p:cNvSpPr>
            <a:spLocks noGrp="1"/>
          </p:cNvSpPr>
          <p:nvPr>
            <p:ph idx="1"/>
          </p:nvPr>
        </p:nvSpPr>
        <p:spPr>
          <a:xfrm>
            <a:off x="381000" y="1828800"/>
            <a:ext cx="8382000" cy="4800600"/>
          </a:xfrm>
        </p:spPr>
        <p:txBody>
          <a:bodyPr/>
          <a:lstStyle/>
          <a:p>
            <a:pPr>
              <a:buFont typeface="Wingdings" pitchFamily="2" charset="2"/>
              <a:buNone/>
            </a:pPr>
            <a:r>
              <a:rPr lang="de-DE" dirty="0" smtClean="0"/>
              <a:t>Die Qualifizierung …</a:t>
            </a:r>
          </a:p>
          <a:p>
            <a:pPr lvl="1"/>
            <a:r>
              <a:rPr lang="de-DE" dirty="0" smtClean="0"/>
              <a:t>besteht aus vier Modulen à 2,5 Tagen (im Schnitt): Teamentwicklung, Diagnostik, </a:t>
            </a:r>
            <a:br>
              <a:rPr lang="de-DE" dirty="0" smtClean="0"/>
            </a:br>
            <a:r>
              <a:rPr lang="de-DE" dirty="0" smtClean="0"/>
              <a:t>Didaktik 1 und Didaktik 2.</a:t>
            </a:r>
          </a:p>
          <a:p>
            <a:pPr lvl="1"/>
            <a:r>
              <a:rPr lang="de-DE" dirty="0" smtClean="0"/>
              <a:t>richtet sich an ganze Schulen und Teilkollegien. In großen Schulen besteht die Möglichkeit, nach und nach in Jahrgangs- und Klassenteams teilzunehmen.</a:t>
            </a:r>
          </a:p>
          <a:p>
            <a:pPr lvl="1"/>
            <a:r>
              <a:rPr lang="de-DE" dirty="0" smtClean="0"/>
              <a:t>beinhaltet in ihrem Verlauf zunehmend fachspezifische Elemente.</a:t>
            </a:r>
          </a:p>
          <a:p>
            <a:pPr lvl="1"/>
            <a:r>
              <a:rPr lang="de-DE" dirty="0" smtClean="0"/>
              <a:t>hat als Ausgangspunkt einen pädagogischen Tag, auf dem das Grundverständnis zu individueller Förderung thematisiert und eine Vision für die Schule entwickelt wird. </a:t>
            </a:r>
          </a:p>
          <a:p>
            <a:pPr lvl="1"/>
            <a:r>
              <a:rPr lang="de-DE" dirty="0" smtClean="0"/>
              <a:t>beinhaltet Inputs, Praxisphasen/ Übungen (für die Teams) sowie wiederkehrende Elemente (z. B. kollegiale Unterrichtshospitationen, Feedback). </a:t>
            </a:r>
          </a:p>
          <a:p>
            <a:pPr lvl="1"/>
            <a:r>
              <a:rPr lang="de-DE" dirty="0" smtClean="0"/>
              <a:t>wird mit der Projekt-Steuergruppe koordiniert und durch die Schulleitung aktiv unterstützt.</a:t>
            </a:r>
          </a:p>
          <a:p>
            <a:pPr lvl="1"/>
            <a:r>
              <a:rPr lang="de-DE" dirty="0" smtClean="0"/>
              <a:t>wird von einem Moderatorenteam durchgeführt und begleitet.</a:t>
            </a:r>
          </a:p>
        </p:txBody>
      </p:sp>
    </p:spTree>
    <p:extLst>
      <p:ext uri="{BB962C8B-B14F-4D97-AF65-F5344CB8AC3E}">
        <p14:creationId xmlns:p14="http://schemas.microsoft.com/office/powerpoint/2010/main" val="667476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lstStyle/>
          <a:p>
            <a:r>
              <a:rPr lang="de-DE" altLang="de-DE" dirty="0" smtClean="0">
                <a:latin typeface="Calibri" panose="020F0502020204030204" pitchFamily="34" charset="0"/>
                <a:cs typeface="Calibri" panose="020F0502020204030204" pitchFamily="34" charset="0"/>
              </a:rPr>
              <a:t>Gesamtkollegien haben Vorrang. Der Einstieg von Teilkollegien ist an bestimmte Voraussetzungen gebunden. (1/2)</a:t>
            </a:r>
          </a:p>
        </p:txBody>
      </p:sp>
      <p:sp>
        <p:nvSpPr>
          <p:cNvPr id="3" name="Inhaltsplatzhalter 2"/>
          <p:cNvSpPr>
            <a:spLocks noGrp="1"/>
          </p:cNvSpPr>
          <p:nvPr>
            <p:ph idx="1"/>
          </p:nvPr>
        </p:nvSpPr>
        <p:spPr/>
        <p:txBody>
          <a:bodyPr/>
          <a:lstStyle/>
          <a:p>
            <a:pPr marL="285750" indent="-285750">
              <a:spcBef>
                <a:spcPct val="0"/>
              </a:spcBef>
              <a:buFontTx/>
              <a:buChar char="•"/>
            </a:pPr>
            <a:r>
              <a:rPr lang="de-DE" altLang="de-DE" i="1" dirty="0" smtClean="0">
                <a:latin typeface="Calibri" panose="020F0502020204030204" pitchFamily="34" charset="0"/>
                <a:cs typeface="Calibri" panose="020F0502020204030204" pitchFamily="34" charset="0"/>
              </a:rPr>
              <a:t>Vielfalt fördern </a:t>
            </a:r>
            <a:r>
              <a:rPr lang="de-DE" altLang="de-DE" dirty="0" smtClean="0">
                <a:latin typeface="Calibri" panose="020F0502020204030204" pitchFamily="34" charset="0"/>
                <a:cs typeface="Calibri" panose="020F0502020204030204" pitchFamily="34" charset="0"/>
              </a:rPr>
              <a:t>ist eine Fortbildung, die sich an ganze Kollegien richtet, um Schulentwicklung zu ermöglichen. Deshalb sollen weiterhin alle Schulen an </a:t>
            </a:r>
            <a:r>
              <a:rPr lang="de-DE" altLang="de-DE" i="1" dirty="0" smtClean="0">
                <a:latin typeface="Calibri" panose="020F0502020204030204" pitchFamily="34" charset="0"/>
                <a:cs typeface="Calibri" panose="020F0502020204030204" pitchFamily="34" charset="0"/>
              </a:rPr>
              <a:t>Vielfalt fördern </a:t>
            </a:r>
            <a:r>
              <a:rPr lang="de-DE" altLang="de-DE" dirty="0" smtClean="0">
                <a:latin typeface="Calibri" panose="020F0502020204030204" pitchFamily="34" charset="0"/>
                <a:cs typeface="Calibri" panose="020F0502020204030204" pitchFamily="34" charset="0"/>
              </a:rPr>
              <a:t>teilnehmen können, an denen das Gesamtkollegium mit klarer Mehrheit eine Entscheidung für Vielfalt fördern fällt. </a:t>
            </a:r>
          </a:p>
          <a:p>
            <a:pPr marL="285750" indent="-285750">
              <a:spcBef>
                <a:spcPct val="0"/>
              </a:spcBef>
              <a:buFontTx/>
              <a:buChar char="•"/>
            </a:pPr>
            <a:r>
              <a:rPr lang="de-DE" altLang="de-DE" dirty="0" smtClean="0">
                <a:latin typeface="Calibri" panose="020F0502020204030204" pitchFamily="34" charset="0"/>
                <a:cs typeface="Calibri" panose="020F0502020204030204" pitchFamily="34" charset="0"/>
              </a:rPr>
              <a:t>Unter ganz bestimmten Voraussetzungen könnten Ausnahmen gemacht werden:</a:t>
            </a:r>
          </a:p>
          <a:p>
            <a:pPr marL="715963" lvl="2" indent="-285750">
              <a:spcBef>
                <a:spcPct val="0"/>
              </a:spcBef>
              <a:buFont typeface="Symbol" panose="05050102010706020507" pitchFamily="18" charset="2"/>
              <a:buChar char="-"/>
            </a:pPr>
            <a:r>
              <a:rPr lang="de-DE" altLang="de-DE" dirty="0" smtClean="0">
                <a:latin typeface="Calibri" panose="020F0502020204030204" pitchFamily="34" charset="0"/>
                <a:cs typeface="Calibri" panose="020F0502020204030204" pitchFamily="34" charset="0"/>
              </a:rPr>
              <a:t>Wenn in großen Schulen (z. B. Gesamtschulen, große Realschulen, Gymnasien) eine hinreichend große Gruppe als Jahrgangsteam in der Jahrgangsstufe 5 gemeinsam in die Fortbildung einsteigen möchte und die SL dies unterstützt, soll dies möglich sein. </a:t>
            </a:r>
          </a:p>
          <a:p>
            <a:pPr marL="715963" lvl="2" indent="-285750">
              <a:spcBef>
                <a:spcPct val="0"/>
              </a:spcBef>
              <a:buFont typeface="Symbol" panose="05050102010706020507" pitchFamily="18" charset="2"/>
              <a:buChar char="-"/>
            </a:pPr>
            <a:r>
              <a:rPr lang="de-DE" altLang="de-DE" dirty="0" smtClean="0">
                <a:latin typeface="Calibri" panose="020F0502020204030204" pitchFamily="34" charset="0"/>
                <a:cs typeface="Calibri" panose="020F0502020204030204" pitchFamily="34" charset="0"/>
              </a:rPr>
              <a:t>Die Schulleitung steht ausdrücklich hinter dem Einstieg eines Teilkollegiums.</a:t>
            </a:r>
          </a:p>
          <a:p>
            <a:pPr marL="715963" lvl="2" indent="-285750">
              <a:spcBef>
                <a:spcPct val="0"/>
              </a:spcBef>
              <a:buFont typeface="Symbol" panose="05050102010706020507" pitchFamily="18" charset="2"/>
              <a:buChar char="-"/>
            </a:pPr>
            <a:r>
              <a:rPr lang="de-DE" altLang="de-DE" dirty="0" smtClean="0">
                <a:latin typeface="Calibri" panose="020F0502020204030204" pitchFamily="34" charset="0"/>
                <a:cs typeface="Calibri" panose="020F0502020204030204" pitchFamily="34" charset="0"/>
              </a:rPr>
              <a:t>Es wird eine Steuergruppe gebildet.</a:t>
            </a:r>
          </a:p>
          <a:p>
            <a:pPr marL="715963" lvl="2" indent="-285750">
              <a:spcBef>
                <a:spcPct val="0"/>
              </a:spcBef>
              <a:buFont typeface="Symbol" panose="05050102010706020507" pitchFamily="18" charset="2"/>
              <a:buChar char="-"/>
            </a:pPr>
            <a:r>
              <a:rPr lang="de-DE" altLang="de-DE" dirty="0" smtClean="0">
                <a:latin typeface="Calibri" panose="020F0502020204030204" pitchFamily="34" charset="0"/>
                <a:cs typeface="Calibri" panose="020F0502020204030204" pitchFamily="34" charset="0"/>
              </a:rPr>
              <a:t>Ziel ist es, Strategien zur Implementierung des Gelernten in das Gesamtkollegium im Allgemeinen und in den Fachschaften insbesondere zu entwickeln.</a:t>
            </a:r>
          </a:p>
        </p:txBody>
      </p:sp>
    </p:spTree>
    <p:extLst>
      <p:ext uri="{BB962C8B-B14F-4D97-AF65-F5344CB8AC3E}">
        <p14:creationId xmlns:p14="http://schemas.microsoft.com/office/powerpoint/2010/main" val="35596399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lstStyle/>
          <a:p>
            <a:r>
              <a:rPr lang="de-DE" altLang="de-DE" dirty="0" smtClean="0">
                <a:latin typeface="Calibri" panose="020F0502020204030204" pitchFamily="34" charset="0"/>
                <a:cs typeface="Calibri" panose="020F0502020204030204" pitchFamily="34" charset="0"/>
              </a:rPr>
              <a:t>Gesamtkollegien haben Vorrang. Der Einstieg von Teilkollegien ist an bestimmte Voraussetzungen gebunden. (2/2)</a:t>
            </a:r>
          </a:p>
        </p:txBody>
      </p:sp>
      <p:sp>
        <p:nvSpPr>
          <p:cNvPr id="3" name="Inhaltsplatzhalter 2"/>
          <p:cNvSpPr>
            <a:spLocks noGrp="1"/>
          </p:cNvSpPr>
          <p:nvPr>
            <p:ph idx="1"/>
          </p:nvPr>
        </p:nvSpPr>
        <p:spPr/>
        <p:txBody>
          <a:bodyPr/>
          <a:lstStyle/>
          <a:p>
            <a:pPr marL="715963" lvl="2" indent="-285750">
              <a:spcBef>
                <a:spcPct val="0"/>
              </a:spcBef>
              <a:buFont typeface="Symbol" panose="05050102010706020507" pitchFamily="18" charset="2"/>
              <a:buChar char="-"/>
              <a:tabLst>
                <a:tab pos="1703388" algn="l"/>
              </a:tabLst>
            </a:pPr>
            <a:r>
              <a:rPr lang="de-DE" altLang="de-DE" dirty="0" smtClean="0">
                <a:latin typeface="Calibri" panose="020F0502020204030204" pitchFamily="34" charset="0"/>
                <a:cs typeface="Calibri" panose="020F0502020204030204" pitchFamily="34" charset="0"/>
              </a:rPr>
              <a:t>Wird durch die Fortbildung das Interesse von anderen Kollegen geweckt, ist deren Einstieg in die Fortbildung möglich. </a:t>
            </a:r>
          </a:p>
          <a:p>
            <a:pPr marL="715963" lvl="2" indent="-285750">
              <a:spcBef>
                <a:spcPct val="0"/>
              </a:spcBef>
              <a:buFont typeface="Symbol" panose="05050102010706020507" pitchFamily="18" charset="2"/>
              <a:buChar char="-"/>
              <a:tabLst>
                <a:tab pos="1703388" algn="l"/>
              </a:tabLst>
            </a:pPr>
            <a:r>
              <a:rPr lang="de-DE" altLang="de-DE" dirty="0" smtClean="0">
                <a:latin typeface="Calibri" panose="020F0502020204030204" pitchFamily="34" charset="0"/>
                <a:cs typeface="Calibri" panose="020F0502020204030204" pitchFamily="34" charset="0"/>
              </a:rPr>
              <a:t>Besteht das Interesse einer weiteren hinreichend großen Gruppe, so kann die Fortbildung im neuen Schuljahr mit dieser neuer Gruppe, vorzugsweise in Jgst. 5 beginnen.</a:t>
            </a:r>
          </a:p>
          <a:p>
            <a:pPr marL="715963" lvl="2" indent="-285750">
              <a:spcBef>
                <a:spcPct val="0"/>
              </a:spcBef>
              <a:buFont typeface="Symbol" panose="05050102010706020507" pitchFamily="18" charset="2"/>
              <a:buChar char="-"/>
              <a:tabLst>
                <a:tab pos="1703388" algn="l"/>
              </a:tabLst>
            </a:pPr>
            <a:r>
              <a:rPr lang="de-DE" altLang="de-DE" dirty="0" smtClean="0">
                <a:latin typeface="Calibri" panose="020F0502020204030204" pitchFamily="34" charset="0"/>
                <a:cs typeface="Calibri" panose="020F0502020204030204" pitchFamily="34" charset="0"/>
              </a:rPr>
              <a:t>In der Schulkonferenz wird regelmäßig über </a:t>
            </a:r>
            <a:r>
              <a:rPr lang="de-DE" altLang="de-DE" i="1" dirty="0" smtClean="0">
                <a:latin typeface="Calibri" panose="020F0502020204030204" pitchFamily="34" charset="0"/>
                <a:cs typeface="Calibri" panose="020F0502020204030204" pitchFamily="34" charset="0"/>
              </a:rPr>
              <a:t>Vielfalt fördern</a:t>
            </a:r>
            <a:r>
              <a:rPr lang="de-DE" altLang="de-DE" dirty="0" smtClean="0">
                <a:latin typeface="Calibri" panose="020F0502020204030204" pitchFamily="34" charset="0"/>
                <a:cs typeface="Calibri" panose="020F0502020204030204" pitchFamily="34" charset="0"/>
              </a:rPr>
              <a:t> informiert.</a:t>
            </a:r>
          </a:p>
          <a:p>
            <a:pPr marL="715963" lvl="2" indent="-285750">
              <a:spcBef>
                <a:spcPct val="0"/>
              </a:spcBef>
              <a:buFont typeface="Symbol" panose="05050102010706020507" pitchFamily="18" charset="2"/>
              <a:buChar char="-"/>
              <a:tabLst>
                <a:tab pos="1703388" algn="l"/>
              </a:tabLst>
            </a:pPr>
            <a:r>
              <a:rPr lang="de-DE" altLang="de-DE" dirty="0" smtClean="0">
                <a:latin typeface="Calibri" panose="020F0502020204030204" pitchFamily="34" charset="0"/>
                <a:cs typeface="Calibri" panose="020F0502020204030204" pitchFamily="34" charset="0"/>
              </a:rPr>
              <a:t>Bei ihrer Bewerbung legen die Schulen zu den genannten Punkten ein Konzept vor.</a:t>
            </a:r>
          </a:p>
          <a:p>
            <a:pPr marL="285750" indent="-285750">
              <a:spcBef>
                <a:spcPct val="0"/>
              </a:spcBef>
              <a:buFontTx/>
              <a:buChar char="•"/>
              <a:tabLst>
                <a:tab pos="1703388" algn="l"/>
              </a:tabLst>
            </a:pPr>
            <a:endParaRPr lang="de-DE" altLang="de-DE"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4653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Bildplatzhalter 4" descr="Foto_Kinder_Flyer.JPG"/>
          <p:cNvPicPr>
            <a:picLocks noGrp="1" noChangeAspect="1"/>
          </p:cNvPicPr>
          <p:nvPr>
            <p:ph type="pic" idx="1"/>
          </p:nvPr>
        </p:nvPicPr>
        <p:blipFill>
          <a:blip r:embed="rId2">
            <a:extLst>
              <a:ext uri="{28A0092B-C50C-407E-A947-70E740481C1C}">
                <a14:useLocalDpi xmlns:a14="http://schemas.microsoft.com/office/drawing/2010/main" val="0"/>
              </a:ext>
            </a:extLst>
          </a:blip>
          <a:srcRect t="4033" b="4033"/>
          <a:stretch>
            <a:fillRect/>
          </a:stretch>
        </p:blipFill>
        <p:spPr>
          <a:xfrm>
            <a:off x="1066800" y="1371600"/>
            <a:ext cx="6211888" cy="3800475"/>
          </a:xfrm>
        </p:spPr>
      </p:pic>
      <p:sp>
        <p:nvSpPr>
          <p:cNvPr id="2" name="Textplatzhalter 1"/>
          <p:cNvSpPr>
            <a:spLocks noGrp="1"/>
          </p:cNvSpPr>
          <p:nvPr>
            <p:ph type="body" sz="half" idx="2"/>
          </p:nvPr>
        </p:nvSpPr>
        <p:spPr/>
        <p:txBody>
          <a:bodyPr/>
          <a:lstStyle/>
          <a:p>
            <a:endParaRPr lang="de-DE"/>
          </a:p>
        </p:txBody>
      </p:sp>
    </p:spTree>
    <p:extLst>
      <p:ext uri="{BB962C8B-B14F-4D97-AF65-F5344CB8AC3E}">
        <p14:creationId xmlns:p14="http://schemas.microsoft.com/office/powerpoint/2010/main" val="37376465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Insgesamt sind </a:t>
            </a:r>
            <a:r>
              <a:rPr lang="de-DE" dirty="0" smtClean="0">
                <a:solidFill>
                  <a:schemeClr val="bg2">
                    <a:lumMod val="25000"/>
                  </a:schemeClr>
                </a:solidFill>
              </a:rPr>
              <a:t>32 Regionen </a:t>
            </a:r>
            <a:r>
              <a:rPr lang="de-DE" dirty="0" smtClean="0"/>
              <a:t>in Vielfalt fördern</a:t>
            </a:r>
            <a:endParaRPr lang="de-DE" dirty="0">
              <a:solidFill>
                <a:srgbClr val="FF0000"/>
              </a:solidFill>
            </a:endParaRPr>
          </a:p>
        </p:txBody>
      </p:sp>
      <p:sp>
        <p:nvSpPr>
          <p:cNvPr id="5" name="Rechteck 4"/>
          <p:cNvSpPr/>
          <p:nvPr/>
        </p:nvSpPr>
        <p:spPr bwMode="auto">
          <a:xfrm>
            <a:off x="6519863" y="5294313"/>
            <a:ext cx="228600" cy="152400"/>
          </a:xfrm>
          <a:prstGeom prst="rect">
            <a:avLst/>
          </a:prstGeom>
          <a:solidFill>
            <a:schemeClr val="accent3">
              <a:lumMod val="75000"/>
            </a:schemeClr>
          </a:solidFill>
          <a:ln w="12700" cap="flat" cmpd="sng" algn="ctr">
            <a:noFill/>
            <a:prstDash val="solid"/>
            <a:round/>
            <a:headEnd type="none" w="med" len="med"/>
            <a:tailEnd type="none" w="med" len="med"/>
          </a:ln>
          <a:effectLst/>
        </p:spPr>
        <p:txBody>
          <a:bodyPr lIns="0" tIns="0" rIns="0" bIns="0" anchor="ctr"/>
          <a:lstStyle/>
          <a:p>
            <a:pPr algn="ctr" eaLnBrk="1" hangingPunct="1">
              <a:defRPr/>
            </a:pPr>
            <a:endParaRPr lang="de-DE" sz="1800" dirty="0">
              <a:solidFill>
                <a:srgbClr val="003264"/>
              </a:solidFill>
              <a:latin typeface="Arial" charset="0"/>
              <a:ea typeface="MS PGothic" charset="0"/>
              <a:cs typeface="MS PGothic" charset="0"/>
            </a:endParaRPr>
          </a:p>
        </p:txBody>
      </p:sp>
      <p:sp>
        <p:nvSpPr>
          <p:cNvPr id="6" name="Rechteck 14"/>
          <p:cNvSpPr>
            <a:spLocks noChangeArrowheads="1"/>
          </p:cNvSpPr>
          <p:nvPr/>
        </p:nvSpPr>
        <p:spPr bwMode="auto">
          <a:xfrm>
            <a:off x="6518169" y="5625722"/>
            <a:ext cx="228593" cy="152392"/>
          </a:xfrm>
          <a:prstGeom prst="rect">
            <a:avLst/>
          </a:prstGeom>
          <a:solidFill>
            <a:srgbClr val="FFC000"/>
          </a:solidFill>
          <a:ln>
            <a:noFill/>
          </a:ln>
          <a:extLst>
            <a:ext uri="{91240B29-F687-4F45-9708-019B960494DF}">
              <a14:hiddenLine xmlns:a14="http://schemas.microsoft.com/office/drawing/2010/main" w="12700">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endParaRPr lang="de-DE" altLang="de-DE" sz="1800" dirty="0" smtClean="0">
              <a:solidFill>
                <a:srgbClr val="003264"/>
              </a:solidFill>
            </a:endParaRPr>
          </a:p>
        </p:txBody>
      </p:sp>
      <p:sp>
        <p:nvSpPr>
          <p:cNvPr id="7" name="Rechteck 15"/>
          <p:cNvSpPr>
            <a:spLocks noChangeArrowheads="1"/>
          </p:cNvSpPr>
          <p:nvPr/>
        </p:nvSpPr>
        <p:spPr bwMode="auto">
          <a:xfrm>
            <a:off x="6518169" y="5957600"/>
            <a:ext cx="228593" cy="152392"/>
          </a:xfrm>
          <a:prstGeom prst="rect">
            <a:avLst/>
          </a:prstGeom>
          <a:solidFill>
            <a:srgbClr val="92D050"/>
          </a:solidFill>
          <a:ln>
            <a:noFill/>
          </a:ln>
          <a:extLst>
            <a:ext uri="{91240B29-F687-4F45-9708-019B960494DF}">
              <a14:hiddenLine xmlns:a14="http://schemas.microsoft.com/office/drawing/2010/main" w="12700">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endParaRPr lang="de-DE" altLang="de-DE" sz="1800" dirty="0" smtClean="0">
              <a:solidFill>
                <a:srgbClr val="003264"/>
              </a:solidFill>
            </a:endParaRPr>
          </a:p>
        </p:txBody>
      </p:sp>
      <p:sp>
        <p:nvSpPr>
          <p:cNvPr id="8" name="Rechteck 7"/>
          <p:cNvSpPr/>
          <p:nvPr/>
        </p:nvSpPr>
        <p:spPr bwMode="auto">
          <a:xfrm>
            <a:off x="6519863" y="6281738"/>
            <a:ext cx="228600" cy="152400"/>
          </a:xfrm>
          <a:prstGeom prst="rect">
            <a:avLst/>
          </a:prstGeom>
          <a:solidFill>
            <a:schemeClr val="accent1">
              <a:lumMod val="75000"/>
            </a:schemeClr>
          </a:solidFill>
          <a:ln w="12700" cap="flat" cmpd="sng" algn="ctr">
            <a:noFill/>
            <a:prstDash val="solid"/>
            <a:round/>
            <a:headEnd type="none" w="med" len="med"/>
            <a:tailEnd type="none" w="med" len="med"/>
          </a:ln>
          <a:effectLst/>
        </p:spPr>
        <p:txBody>
          <a:bodyPr lIns="0" tIns="0" rIns="0" bIns="0" anchor="ctr"/>
          <a:lstStyle/>
          <a:p>
            <a:pPr algn="ctr" eaLnBrk="1" hangingPunct="1">
              <a:defRPr/>
            </a:pPr>
            <a:endParaRPr lang="de-DE" sz="1800" dirty="0">
              <a:solidFill>
                <a:srgbClr val="003264"/>
              </a:solidFill>
              <a:latin typeface="Arial" charset="0"/>
              <a:ea typeface="MS PGothic" charset="0"/>
              <a:cs typeface="MS PGothic" charset="0"/>
            </a:endParaRPr>
          </a:p>
        </p:txBody>
      </p:sp>
      <p:grpSp>
        <p:nvGrpSpPr>
          <p:cNvPr id="9" name="Gruppieren 4"/>
          <p:cNvGrpSpPr>
            <a:grpSpLocks/>
          </p:cNvGrpSpPr>
          <p:nvPr/>
        </p:nvGrpSpPr>
        <p:grpSpPr bwMode="auto">
          <a:xfrm>
            <a:off x="1512888" y="1336675"/>
            <a:ext cx="7402512" cy="5332413"/>
            <a:chOff x="1470471" y="1336936"/>
            <a:chExt cx="7402748" cy="5332695"/>
          </a:xfrm>
        </p:grpSpPr>
        <p:grpSp>
          <p:nvGrpSpPr>
            <p:cNvPr id="10" name="Gruppieren 5"/>
            <p:cNvGrpSpPr>
              <a:grpSpLocks/>
            </p:cNvGrpSpPr>
            <p:nvPr/>
          </p:nvGrpSpPr>
          <p:grpSpPr bwMode="auto">
            <a:xfrm>
              <a:off x="1470471" y="1336936"/>
              <a:ext cx="7283682" cy="5332695"/>
              <a:chOff x="1470471" y="1336936"/>
              <a:chExt cx="7283682" cy="5332695"/>
            </a:xfrm>
          </p:grpSpPr>
          <p:grpSp>
            <p:nvGrpSpPr>
              <p:cNvPr id="12" name="Gruppieren 7"/>
              <p:cNvGrpSpPr>
                <a:grpSpLocks/>
              </p:cNvGrpSpPr>
              <p:nvPr/>
            </p:nvGrpSpPr>
            <p:grpSpPr bwMode="auto">
              <a:xfrm>
                <a:off x="1470471" y="1336936"/>
                <a:ext cx="7032849" cy="5332695"/>
                <a:chOff x="1470471" y="1336936"/>
                <a:chExt cx="7032849" cy="5332695"/>
              </a:xfrm>
            </p:grpSpPr>
            <p:sp>
              <p:nvSpPr>
                <p:cNvPr id="14" name="Rechteck 4"/>
                <p:cNvSpPr>
                  <a:spLocks noChangeArrowheads="1"/>
                </p:cNvSpPr>
                <p:nvPr/>
              </p:nvSpPr>
              <p:spPr bwMode="auto">
                <a:xfrm>
                  <a:off x="6369652" y="4942340"/>
                  <a:ext cx="2133668" cy="1727291"/>
                </a:xfrm>
                <a:prstGeom prst="rect">
                  <a:avLst/>
                </a:prstGeom>
                <a:solidFill>
                  <a:schemeClr val="bg1"/>
                </a:solidFill>
                <a:ln w="12700">
                  <a:solidFill>
                    <a:schemeClr val="bg1">
                      <a:lumMod val="85000"/>
                    </a:schemeClr>
                  </a:solidFill>
                  <a:round/>
                  <a:headEnd/>
                  <a:tailEnd/>
                </a:ln>
              </p:spPr>
              <p:txBody>
                <a:bodyPr lIns="0" tIns="0" rIns="0" bIns="0" anchor="ctr"/>
                <a:lstStyle>
                  <a:lvl1pPr>
                    <a:spcAft>
                      <a:spcPts val="900"/>
                    </a:spcAft>
                    <a:buClr>
                      <a:schemeClr val="hlink"/>
                    </a:buClr>
                    <a:defRPr>
                      <a:solidFill>
                        <a:srgbClr val="003264"/>
                      </a:solidFill>
                      <a:latin typeface="Calibri" panose="020F0502020204030204" pitchFamily="34" charset="0"/>
                      <a:ea typeface="MS PGothic" panose="020B0600070205080204" pitchFamily="34" charset="-128"/>
                      <a:cs typeface="Calibri" panose="020F0502020204030204" pitchFamily="34" charset="0"/>
                    </a:defRPr>
                  </a:lvl1pPr>
                  <a:lvl2pPr marL="742950" indent="-285750">
                    <a:spcAft>
                      <a:spcPts val="900"/>
                    </a:spcAft>
                    <a:buClr>
                      <a:srgbClr val="003264"/>
                    </a:buClr>
                    <a:buFont typeface="Arial" panose="020B0604020202020204" pitchFamily="34" charset="0"/>
                    <a:buChar char="•"/>
                    <a:defRPr>
                      <a:solidFill>
                        <a:srgbClr val="003264"/>
                      </a:solidFill>
                      <a:latin typeface="Calibri" panose="020F0502020204030204" pitchFamily="34" charset="0"/>
                      <a:ea typeface="MS PGothic" panose="020B0600070205080204" pitchFamily="34" charset="-128"/>
                      <a:cs typeface="Calibri" panose="020F0502020204030204" pitchFamily="34" charset="0"/>
                    </a:defRPr>
                  </a:lvl2pPr>
                  <a:lvl3pPr marL="1143000" indent="-228600">
                    <a:spcAft>
                      <a:spcPts val="900"/>
                    </a:spcAft>
                    <a:buSzPct val="75000"/>
                    <a:buFont typeface="Wingdings" panose="05000000000000000000" pitchFamily="2" charset="2"/>
                    <a:buChar char="§"/>
                    <a:defRPr>
                      <a:solidFill>
                        <a:srgbClr val="003264"/>
                      </a:solidFill>
                      <a:latin typeface="Calibri" panose="020F0502020204030204" pitchFamily="34" charset="0"/>
                      <a:ea typeface="MS PGothic" panose="020B0600070205080204" pitchFamily="34" charset="-128"/>
                      <a:cs typeface="Calibri" panose="020F0502020204030204" pitchFamily="34" charset="0"/>
                    </a:defRPr>
                  </a:lvl3pPr>
                  <a:lvl4pPr marL="1600200" indent="-228600">
                    <a:spcAft>
                      <a:spcPts val="900"/>
                    </a:spcAft>
                    <a:buSzPct val="75000"/>
                    <a:buFont typeface="Wingdings" panose="05000000000000000000" pitchFamily="2" charset="2"/>
                    <a:defRPr>
                      <a:solidFill>
                        <a:srgbClr val="003264"/>
                      </a:solidFill>
                      <a:latin typeface="Calibri" panose="020F0502020204030204" pitchFamily="34" charset="0"/>
                      <a:ea typeface="MS PGothic" panose="020B0600070205080204" pitchFamily="34" charset="-128"/>
                      <a:cs typeface="Calibri" panose="020F0502020204030204" pitchFamily="34" charset="0"/>
                    </a:defRPr>
                  </a:lvl4pPr>
                  <a:lvl5pPr marL="2057400" indent="-228600">
                    <a:spcAft>
                      <a:spcPts val="900"/>
                    </a:spcAft>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ts val="90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ts val="90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ts val="90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ts val="900"/>
                    </a:spcAft>
                    <a:defRPr>
                      <a:solidFill>
                        <a:schemeClr val="tx1"/>
                      </a:solidFill>
                      <a:latin typeface="Calibri" panose="020F0502020204030204" pitchFamily="34" charset="0"/>
                      <a:ea typeface="MS PGothic" panose="020B0600070205080204" pitchFamily="34" charset="-128"/>
                    </a:defRPr>
                  </a:lvl9pPr>
                </a:lstStyle>
                <a:p>
                  <a:pPr algn="ctr" eaLnBrk="1" hangingPunct="1">
                    <a:spcAft>
                      <a:spcPct val="0"/>
                    </a:spcAft>
                    <a:buClrTx/>
                    <a:defRPr/>
                  </a:pPr>
                  <a:endParaRPr lang="de-DE" altLang="de-DE" sz="1800" dirty="0">
                    <a:latin typeface="Arial" panose="020B0604020202020204" pitchFamily="34" charset="0"/>
                  </a:endParaRPr>
                </a:p>
              </p:txBody>
            </p:sp>
            <p:grpSp>
              <p:nvGrpSpPr>
                <p:cNvPr id="15" name="Gruppieren 446"/>
                <p:cNvGrpSpPr>
                  <a:grpSpLocks/>
                </p:cNvGrpSpPr>
                <p:nvPr/>
              </p:nvGrpSpPr>
              <p:grpSpPr bwMode="auto">
                <a:xfrm>
                  <a:off x="1781530" y="1513594"/>
                  <a:ext cx="4798126" cy="4953000"/>
                  <a:chOff x="2799190" y="3281173"/>
                  <a:chExt cx="1346254" cy="1287299"/>
                </a:xfrm>
                <a:solidFill>
                  <a:schemeClr val="bg1"/>
                </a:solidFill>
              </p:grpSpPr>
              <p:sp>
                <p:nvSpPr>
                  <p:cNvPr id="74" name="Freeform 292" descr="© INSCALE GmbH, 21.06.2010"/>
                  <p:cNvSpPr>
                    <a:spLocks noChangeAspect="1"/>
                  </p:cNvSpPr>
                  <p:nvPr/>
                </p:nvSpPr>
                <p:spPr bwMode="auto">
                  <a:xfrm>
                    <a:off x="3541329" y="3758868"/>
                    <a:ext cx="284371" cy="198366"/>
                  </a:xfrm>
                  <a:custGeom>
                    <a:avLst/>
                    <a:gdLst>
                      <a:gd name="T0" fmla="*/ 2147483646 w 297"/>
                      <a:gd name="T1" fmla="*/ 2147483646 h 209"/>
                      <a:gd name="T2" fmla="*/ 2147483646 w 297"/>
                      <a:gd name="T3" fmla="*/ 2147483646 h 209"/>
                      <a:gd name="T4" fmla="*/ 2147483646 w 297"/>
                      <a:gd name="T5" fmla="*/ 2147483646 h 209"/>
                      <a:gd name="T6" fmla="*/ 2147483646 w 297"/>
                      <a:gd name="T7" fmla="*/ 2147483646 h 209"/>
                      <a:gd name="T8" fmla="*/ 2147483646 w 297"/>
                      <a:gd name="T9" fmla="*/ 2147483646 h 209"/>
                      <a:gd name="T10" fmla="*/ 2147483646 w 297"/>
                      <a:gd name="T11" fmla="*/ 2147483646 h 209"/>
                      <a:gd name="T12" fmla="*/ 2147483646 w 297"/>
                      <a:gd name="T13" fmla="*/ 2147483646 h 209"/>
                      <a:gd name="T14" fmla="*/ 2147483646 w 297"/>
                      <a:gd name="T15" fmla="*/ 2147483646 h 209"/>
                      <a:gd name="T16" fmla="*/ 2147483646 w 297"/>
                      <a:gd name="T17" fmla="*/ 2147483646 h 209"/>
                      <a:gd name="T18" fmla="*/ 2147483646 w 297"/>
                      <a:gd name="T19" fmla="*/ 2147483646 h 209"/>
                      <a:gd name="T20" fmla="*/ 2147483646 w 297"/>
                      <a:gd name="T21" fmla="*/ 2147483646 h 209"/>
                      <a:gd name="T22" fmla="*/ 2147483646 w 297"/>
                      <a:gd name="T23" fmla="*/ 2147483646 h 209"/>
                      <a:gd name="T24" fmla="*/ 2147483646 w 297"/>
                      <a:gd name="T25" fmla="*/ 2147483646 h 209"/>
                      <a:gd name="T26" fmla="*/ 2147483646 w 297"/>
                      <a:gd name="T27" fmla="*/ 2147483646 h 209"/>
                      <a:gd name="T28" fmla="*/ 2147483646 w 297"/>
                      <a:gd name="T29" fmla="*/ 2147483646 h 209"/>
                      <a:gd name="T30" fmla="*/ 2147483646 w 297"/>
                      <a:gd name="T31" fmla="*/ 2147483646 h 209"/>
                      <a:gd name="T32" fmla="*/ 2147483646 w 297"/>
                      <a:gd name="T33" fmla="*/ 2147483646 h 209"/>
                      <a:gd name="T34" fmla="*/ 2147483646 w 297"/>
                      <a:gd name="T35" fmla="*/ 2147483646 h 209"/>
                      <a:gd name="T36" fmla="*/ 2147483646 w 297"/>
                      <a:gd name="T37" fmla="*/ 2147483646 h 209"/>
                      <a:gd name="T38" fmla="*/ 2147483646 w 297"/>
                      <a:gd name="T39" fmla="*/ 2147483646 h 209"/>
                      <a:gd name="T40" fmla="*/ 2147483646 w 297"/>
                      <a:gd name="T41" fmla="*/ 2147483646 h 209"/>
                      <a:gd name="T42" fmla="*/ 2147483646 w 297"/>
                      <a:gd name="T43" fmla="*/ 2147483646 h 209"/>
                      <a:gd name="T44" fmla="*/ 2147483646 w 297"/>
                      <a:gd name="T45" fmla="*/ 2147483646 h 209"/>
                      <a:gd name="T46" fmla="*/ 2147483646 w 297"/>
                      <a:gd name="T47" fmla="*/ 2147483646 h 209"/>
                      <a:gd name="T48" fmla="*/ 2147483646 w 297"/>
                      <a:gd name="T49" fmla="*/ 2147483646 h 209"/>
                      <a:gd name="T50" fmla="*/ 2147483646 w 297"/>
                      <a:gd name="T51" fmla="*/ 2147483646 h 209"/>
                      <a:gd name="T52" fmla="*/ 2147483646 w 297"/>
                      <a:gd name="T53" fmla="*/ 2147483646 h 209"/>
                      <a:gd name="T54" fmla="*/ 2147483646 w 297"/>
                      <a:gd name="T55" fmla="*/ 2147483646 h 209"/>
                      <a:gd name="T56" fmla="*/ 0 w 297"/>
                      <a:gd name="T57" fmla="*/ 2147483646 h 209"/>
                      <a:gd name="T58" fmla="*/ 2147483646 w 297"/>
                      <a:gd name="T59" fmla="*/ 2147483646 h 209"/>
                      <a:gd name="T60" fmla="*/ 2147483646 w 297"/>
                      <a:gd name="T61" fmla="*/ 2147483646 h 209"/>
                      <a:gd name="T62" fmla="*/ 2147483646 w 297"/>
                      <a:gd name="T63" fmla="*/ 2147483646 h 209"/>
                      <a:gd name="T64" fmla="*/ 2147483646 w 297"/>
                      <a:gd name="T65" fmla="*/ 2147483646 h 209"/>
                      <a:gd name="T66" fmla="*/ 2147483646 w 297"/>
                      <a:gd name="T67" fmla="*/ 2147483646 h 209"/>
                      <a:gd name="T68" fmla="*/ 2147483646 w 297"/>
                      <a:gd name="T69" fmla="*/ 2147483646 h 209"/>
                      <a:gd name="T70" fmla="*/ 2147483646 w 297"/>
                      <a:gd name="T71" fmla="*/ 2147483646 h 209"/>
                      <a:gd name="T72" fmla="*/ 2147483646 w 297"/>
                      <a:gd name="T73" fmla="*/ 2147483646 h 209"/>
                      <a:gd name="T74" fmla="*/ 2147483646 w 297"/>
                      <a:gd name="T75" fmla="*/ 2147483646 h 209"/>
                      <a:gd name="T76" fmla="*/ 2147483646 w 297"/>
                      <a:gd name="T77" fmla="*/ 2147483646 h 209"/>
                      <a:gd name="T78" fmla="*/ 2147483646 w 297"/>
                      <a:gd name="T79" fmla="*/ 2147483646 h 209"/>
                      <a:gd name="T80" fmla="*/ 2147483646 w 297"/>
                      <a:gd name="T81" fmla="*/ 2147483646 h 209"/>
                      <a:gd name="T82" fmla="*/ 2147483646 w 297"/>
                      <a:gd name="T83" fmla="*/ 2147483646 h 209"/>
                      <a:gd name="T84" fmla="*/ 2147483646 w 297"/>
                      <a:gd name="T85" fmla="*/ 2147483646 h 209"/>
                      <a:gd name="T86" fmla="*/ 2147483646 w 297"/>
                      <a:gd name="T87" fmla="*/ 2147483646 h 209"/>
                      <a:gd name="T88" fmla="*/ 2147483646 w 297"/>
                      <a:gd name="T89" fmla="*/ 2147483646 h 209"/>
                      <a:gd name="T90" fmla="*/ 2147483646 w 297"/>
                      <a:gd name="T91" fmla="*/ 2147483646 h 209"/>
                      <a:gd name="T92" fmla="*/ 2147483646 w 297"/>
                      <a:gd name="T93" fmla="*/ 2147483646 h 209"/>
                      <a:gd name="T94" fmla="*/ 2147483646 w 297"/>
                      <a:gd name="T95" fmla="*/ 0 h 2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7"/>
                      <a:gd name="T145" fmla="*/ 0 h 209"/>
                      <a:gd name="T146" fmla="*/ 297 w 297"/>
                      <a:gd name="T147" fmla="*/ 209 h 2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7" h="209">
                        <a:moveTo>
                          <a:pt x="199" y="0"/>
                        </a:moveTo>
                        <a:lnTo>
                          <a:pt x="217" y="6"/>
                        </a:lnTo>
                        <a:lnTo>
                          <a:pt x="228" y="6"/>
                        </a:lnTo>
                        <a:lnTo>
                          <a:pt x="231" y="8"/>
                        </a:lnTo>
                        <a:lnTo>
                          <a:pt x="232" y="8"/>
                        </a:lnTo>
                        <a:lnTo>
                          <a:pt x="235" y="9"/>
                        </a:lnTo>
                        <a:lnTo>
                          <a:pt x="238" y="9"/>
                        </a:lnTo>
                        <a:lnTo>
                          <a:pt x="241" y="8"/>
                        </a:lnTo>
                        <a:lnTo>
                          <a:pt x="247" y="8"/>
                        </a:lnTo>
                        <a:lnTo>
                          <a:pt x="253" y="14"/>
                        </a:lnTo>
                        <a:lnTo>
                          <a:pt x="253" y="17"/>
                        </a:lnTo>
                        <a:lnTo>
                          <a:pt x="257" y="25"/>
                        </a:lnTo>
                        <a:lnTo>
                          <a:pt x="259" y="27"/>
                        </a:lnTo>
                        <a:lnTo>
                          <a:pt x="259" y="28"/>
                        </a:lnTo>
                        <a:lnTo>
                          <a:pt x="260" y="31"/>
                        </a:lnTo>
                        <a:lnTo>
                          <a:pt x="267" y="33"/>
                        </a:lnTo>
                        <a:lnTo>
                          <a:pt x="270" y="34"/>
                        </a:lnTo>
                        <a:lnTo>
                          <a:pt x="272" y="37"/>
                        </a:lnTo>
                        <a:lnTo>
                          <a:pt x="275" y="39"/>
                        </a:lnTo>
                        <a:lnTo>
                          <a:pt x="278" y="39"/>
                        </a:lnTo>
                        <a:lnTo>
                          <a:pt x="281" y="40"/>
                        </a:lnTo>
                        <a:lnTo>
                          <a:pt x="287" y="40"/>
                        </a:lnTo>
                        <a:lnTo>
                          <a:pt x="288" y="42"/>
                        </a:lnTo>
                        <a:lnTo>
                          <a:pt x="290" y="42"/>
                        </a:lnTo>
                        <a:lnTo>
                          <a:pt x="290" y="43"/>
                        </a:lnTo>
                        <a:lnTo>
                          <a:pt x="291" y="45"/>
                        </a:lnTo>
                        <a:lnTo>
                          <a:pt x="293" y="48"/>
                        </a:lnTo>
                        <a:lnTo>
                          <a:pt x="294" y="52"/>
                        </a:lnTo>
                        <a:lnTo>
                          <a:pt x="294" y="55"/>
                        </a:lnTo>
                        <a:lnTo>
                          <a:pt x="296" y="59"/>
                        </a:lnTo>
                        <a:lnTo>
                          <a:pt x="297" y="62"/>
                        </a:lnTo>
                        <a:lnTo>
                          <a:pt x="297" y="70"/>
                        </a:lnTo>
                        <a:lnTo>
                          <a:pt x="293" y="73"/>
                        </a:lnTo>
                        <a:lnTo>
                          <a:pt x="284" y="77"/>
                        </a:lnTo>
                        <a:lnTo>
                          <a:pt x="276" y="82"/>
                        </a:lnTo>
                        <a:lnTo>
                          <a:pt x="269" y="85"/>
                        </a:lnTo>
                        <a:lnTo>
                          <a:pt x="266" y="86"/>
                        </a:lnTo>
                        <a:lnTo>
                          <a:pt x="262" y="91"/>
                        </a:lnTo>
                        <a:lnTo>
                          <a:pt x="259" y="95"/>
                        </a:lnTo>
                        <a:lnTo>
                          <a:pt x="256" y="98"/>
                        </a:lnTo>
                        <a:lnTo>
                          <a:pt x="254" y="102"/>
                        </a:lnTo>
                        <a:lnTo>
                          <a:pt x="254" y="111"/>
                        </a:lnTo>
                        <a:lnTo>
                          <a:pt x="256" y="116"/>
                        </a:lnTo>
                        <a:lnTo>
                          <a:pt x="256" y="119"/>
                        </a:lnTo>
                        <a:lnTo>
                          <a:pt x="259" y="125"/>
                        </a:lnTo>
                        <a:lnTo>
                          <a:pt x="266" y="126"/>
                        </a:lnTo>
                        <a:lnTo>
                          <a:pt x="266" y="129"/>
                        </a:lnTo>
                        <a:lnTo>
                          <a:pt x="267" y="136"/>
                        </a:lnTo>
                        <a:lnTo>
                          <a:pt x="267" y="144"/>
                        </a:lnTo>
                        <a:lnTo>
                          <a:pt x="269" y="150"/>
                        </a:lnTo>
                        <a:lnTo>
                          <a:pt x="272" y="156"/>
                        </a:lnTo>
                        <a:lnTo>
                          <a:pt x="276" y="160"/>
                        </a:lnTo>
                        <a:lnTo>
                          <a:pt x="278" y="163"/>
                        </a:lnTo>
                        <a:lnTo>
                          <a:pt x="275" y="164"/>
                        </a:lnTo>
                        <a:lnTo>
                          <a:pt x="269" y="169"/>
                        </a:lnTo>
                        <a:lnTo>
                          <a:pt x="262" y="173"/>
                        </a:lnTo>
                        <a:lnTo>
                          <a:pt x="254" y="176"/>
                        </a:lnTo>
                        <a:lnTo>
                          <a:pt x="250" y="178"/>
                        </a:lnTo>
                        <a:lnTo>
                          <a:pt x="245" y="181"/>
                        </a:lnTo>
                        <a:lnTo>
                          <a:pt x="242" y="185"/>
                        </a:lnTo>
                        <a:lnTo>
                          <a:pt x="241" y="188"/>
                        </a:lnTo>
                        <a:lnTo>
                          <a:pt x="239" y="190"/>
                        </a:lnTo>
                        <a:lnTo>
                          <a:pt x="239" y="191"/>
                        </a:lnTo>
                        <a:lnTo>
                          <a:pt x="238" y="193"/>
                        </a:lnTo>
                        <a:lnTo>
                          <a:pt x="235" y="194"/>
                        </a:lnTo>
                        <a:lnTo>
                          <a:pt x="233" y="194"/>
                        </a:lnTo>
                        <a:lnTo>
                          <a:pt x="231" y="197"/>
                        </a:lnTo>
                        <a:lnTo>
                          <a:pt x="228" y="198"/>
                        </a:lnTo>
                        <a:lnTo>
                          <a:pt x="226" y="200"/>
                        </a:lnTo>
                        <a:lnTo>
                          <a:pt x="226" y="201"/>
                        </a:lnTo>
                        <a:lnTo>
                          <a:pt x="214" y="201"/>
                        </a:lnTo>
                        <a:lnTo>
                          <a:pt x="213" y="203"/>
                        </a:lnTo>
                        <a:lnTo>
                          <a:pt x="207" y="206"/>
                        </a:lnTo>
                        <a:lnTo>
                          <a:pt x="202" y="207"/>
                        </a:lnTo>
                        <a:lnTo>
                          <a:pt x="186" y="207"/>
                        </a:lnTo>
                        <a:lnTo>
                          <a:pt x="182" y="209"/>
                        </a:lnTo>
                        <a:lnTo>
                          <a:pt x="179" y="209"/>
                        </a:lnTo>
                        <a:lnTo>
                          <a:pt x="171" y="201"/>
                        </a:lnTo>
                        <a:lnTo>
                          <a:pt x="151" y="201"/>
                        </a:lnTo>
                        <a:lnTo>
                          <a:pt x="143" y="194"/>
                        </a:lnTo>
                        <a:lnTo>
                          <a:pt x="143" y="193"/>
                        </a:lnTo>
                        <a:lnTo>
                          <a:pt x="140" y="190"/>
                        </a:lnTo>
                        <a:lnTo>
                          <a:pt x="137" y="190"/>
                        </a:lnTo>
                        <a:lnTo>
                          <a:pt x="134" y="187"/>
                        </a:lnTo>
                        <a:lnTo>
                          <a:pt x="133" y="187"/>
                        </a:lnTo>
                        <a:lnTo>
                          <a:pt x="127" y="179"/>
                        </a:lnTo>
                        <a:lnTo>
                          <a:pt x="112" y="176"/>
                        </a:lnTo>
                        <a:lnTo>
                          <a:pt x="109" y="172"/>
                        </a:lnTo>
                        <a:lnTo>
                          <a:pt x="84" y="172"/>
                        </a:lnTo>
                        <a:lnTo>
                          <a:pt x="65" y="154"/>
                        </a:lnTo>
                        <a:lnTo>
                          <a:pt x="57" y="159"/>
                        </a:lnTo>
                        <a:lnTo>
                          <a:pt x="50" y="156"/>
                        </a:lnTo>
                        <a:lnTo>
                          <a:pt x="44" y="160"/>
                        </a:lnTo>
                        <a:lnTo>
                          <a:pt x="38" y="156"/>
                        </a:lnTo>
                        <a:lnTo>
                          <a:pt x="34" y="151"/>
                        </a:lnTo>
                        <a:lnTo>
                          <a:pt x="31" y="150"/>
                        </a:lnTo>
                        <a:lnTo>
                          <a:pt x="28" y="147"/>
                        </a:lnTo>
                        <a:lnTo>
                          <a:pt x="25" y="145"/>
                        </a:lnTo>
                        <a:lnTo>
                          <a:pt x="23" y="145"/>
                        </a:lnTo>
                        <a:lnTo>
                          <a:pt x="20" y="147"/>
                        </a:lnTo>
                        <a:lnTo>
                          <a:pt x="15" y="159"/>
                        </a:lnTo>
                        <a:lnTo>
                          <a:pt x="12" y="162"/>
                        </a:lnTo>
                        <a:lnTo>
                          <a:pt x="10" y="162"/>
                        </a:lnTo>
                        <a:lnTo>
                          <a:pt x="3" y="153"/>
                        </a:lnTo>
                        <a:lnTo>
                          <a:pt x="9" y="148"/>
                        </a:lnTo>
                        <a:lnTo>
                          <a:pt x="1" y="138"/>
                        </a:lnTo>
                        <a:lnTo>
                          <a:pt x="1" y="133"/>
                        </a:lnTo>
                        <a:lnTo>
                          <a:pt x="3" y="130"/>
                        </a:lnTo>
                        <a:lnTo>
                          <a:pt x="3" y="119"/>
                        </a:lnTo>
                        <a:lnTo>
                          <a:pt x="1" y="116"/>
                        </a:lnTo>
                        <a:lnTo>
                          <a:pt x="1" y="113"/>
                        </a:lnTo>
                        <a:lnTo>
                          <a:pt x="3" y="111"/>
                        </a:lnTo>
                        <a:lnTo>
                          <a:pt x="3" y="110"/>
                        </a:lnTo>
                        <a:lnTo>
                          <a:pt x="4" y="107"/>
                        </a:lnTo>
                        <a:lnTo>
                          <a:pt x="6" y="105"/>
                        </a:lnTo>
                        <a:lnTo>
                          <a:pt x="0" y="89"/>
                        </a:lnTo>
                        <a:lnTo>
                          <a:pt x="1" y="89"/>
                        </a:lnTo>
                        <a:lnTo>
                          <a:pt x="3" y="88"/>
                        </a:lnTo>
                        <a:lnTo>
                          <a:pt x="9" y="85"/>
                        </a:lnTo>
                        <a:lnTo>
                          <a:pt x="13" y="83"/>
                        </a:lnTo>
                        <a:lnTo>
                          <a:pt x="16" y="82"/>
                        </a:lnTo>
                        <a:lnTo>
                          <a:pt x="17" y="80"/>
                        </a:lnTo>
                        <a:lnTo>
                          <a:pt x="34" y="80"/>
                        </a:lnTo>
                        <a:lnTo>
                          <a:pt x="32" y="68"/>
                        </a:lnTo>
                        <a:lnTo>
                          <a:pt x="34" y="67"/>
                        </a:lnTo>
                        <a:lnTo>
                          <a:pt x="37" y="65"/>
                        </a:lnTo>
                        <a:lnTo>
                          <a:pt x="38" y="62"/>
                        </a:lnTo>
                        <a:lnTo>
                          <a:pt x="41" y="61"/>
                        </a:lnTo>
                        <a:lnTo>
                          <a:pt x="43" y="59"/>
                        </a:lnTo>
                        <a:lnTo>
                          <a:pt x="43" y="52"/>
                        </a:lnTo>
                        <a:lnTo>
                          <a:pt x="47" y="52"/>
                        </a:lnTo>
                        <a:lnTo>
                          <a:pt x="47" y="49"/>
                        </a:lnTo>
                        <a:lnTo>
                          <a:pt x="49" y="45"/>
                        </a:lnTo>
                        <a:lnTo>
                          <a:pt x="50" y="42"/>
                        </a:lnTo>
                        <a:lnTo>
                          <a:pt x="51" y="37"/>
                        </a:lnTo>
                        <a:lnTo>
                          <a:pt x="53" y="34"/>
                        </a:lnTo>
                        <a:lnTo>
                          <a:pt x="56" y="31"/>
                        </a:lnTo>
                        <a:lnTo>
                          <a:pt x="57" y="31"/>
                        </a:lnTo>
                        <a:lnTo>
                          <a:pt x="59" y="33"/>
                        </a:lnTo>
                        <a:lnTo>
                          <a:pt x="63" y="33"/>
                        </a:lnTo>
                        <a:lnTo>
                          <a:pt x="66" y="31"/>
                        </a:lnTo>
                        <a:lnTo>
                          <a:pt x="68" y="31"/>
                        </a:lnTo>
                        <a:lnTo>
                          <a:pt x="68" y="30"/>
                        </a:lnTo>
                        <a:lnTo>
                          <a:pt x="66" y="28"/>
                        </a:lnTo>
                        <a:lnTo>
                          <a:pt x="63" y="27"/>
                        </a:lnTo>
                        <a:lnTo>
                          <a:pt x="60" y="24"/>
                        </a:lnTo>
                        <a:lnTo>
                          <a:pt x="59" y="21"/>
                        </a:lnTo>
                        <a:lnTo>
                          <a:pt x="56" y="20"/>
                        </a:lnTo>
                        <a:lnTo>
                          <a:pt x="53" y="20"/>
                        </a:lnTo>
                        <a:lnTo>
                          <a:pt x="51" y="18"/>
                        </a:lnTo>
                        <a:lnTo>
                          <a:pt x="51" y="17"/>
                        </a:lnTo>
                        <a:lnTo>
                          <a:pt x="50" y="17"/>
                        </a:lnTo>
                        <a:lnTo>
                          <a:pt x="50" y="12"/>
                        </a:lnTo>
                        <a:lnTo>
                          <a:pt x="53" y="6"/>
                        </a:lnTo>
                        <a:lnTo>
                          <a:pt x="59" y="3"/>
                        </a:lnTo>
                        <a:lnTo>
                          <a:pt x="62" y="3"/>
                        </a:lnTo>
                        <a:lnTo>
                          <a:pt x="65" y="5"/>
                        </a:lnTo>
                        <a:lnTo>
                          <a:pt x="68" y="8"/>
                        </a:lnTo>
                        <a:lnTo>
                          <a:pt x="71" y="9"/>
                        </a:lnTo>
                        <a:lnTo>
                          <a:pt x="91" y="9"/>
                        </a:lnTo>
                        <a:lnTo>
                          <a:pt x="100" y="12"/>
                        </a:lnTo>
                        <a:lnTo>
                          <a:pt x="105" y="15"/>
                        </a:lnTo>
                        <a:lnTo>
                          <a:pt x="106" y="17"/>
                        </a:lnTo>
                        <a:lnTo>
                          <a:pt x="108" y="17"/>
                        </a:lnTo>
                        <a:lnTo>
                          <a:pt x="109" y="18"/>
                        </a:lnTo>
                        <a:lnTo>
                          <a:pt x="117" y="8"/>
                        </a:lnTo>
                        <a:lnTo>
                          <a:pt x="118" y="8"/>
                        </a:lnTo>
                        <a:lnTo>
                          <a:pt x="120" y="9"/>
                        </a:lnTo>
                        <a:lnTo>
                          <a:pt x="123" y="11"/>
                        </a:lnTo>
                        <a:lnTo>
                          <a:pt x="125" y="11"/>
                        </a:lnTo>
                        <a:lnTo>
                          <a:pt x="131" y="14"/>
                        </a:lnTo>
                        <a:lnTo>
                          <a:pt x="136" y="15"/>
                        </a:lnTo>
                        <a:lnTo>
                          <a:pt x="139" y="17"/>
                        </a:lnTo>
                        <a:lnTo>
                          <a:pt x="145" y="23"/>
                        </a:lnTo>
                        <a:lnTo>
                          <a:pt x="154" y="23"/>
                        </a:lnTo>
                        <a:lnTo>
                          <a:pt x="152" y="24"/>
                        </a:lnTo>
                        <a:lnTo>
                          <a:pt x="149" y="25"/>
                        </a:lnTo>
                        <a:lnTo>
                          <a:pt x="148" y="28"/>
                        </a:lnTo>
                        <a:lnTo>
                          <a:pt x="148" y="34"/>
                        </a:lnTo>
                        <a:lnTo>
                          <a:pt x="146" y="39"/>
                        </a:lnTo>
                        <a:lnTo>
                          <a:pt x="146" y="45"/>
                        </a:lnTo>
                        <a:lnTo>
                          <a:pt x="164" y="45"/>
                        </a:lnTo>
                        <a:lnTo>
                          <a:pt x="177" y="40"/>
                        </a:lnTo>
                        <a:lnTo>
                          <a:pt x="180" y="39"/>
                        </a:lnTo>
                        <a:lnTo>
                          <a:pt x="182" y="37"/>
                        </a:lnTo>
                        <a:lnTo>
                          <a:pt x="185" y="36"/>
                        </a:lnTo>
                        <a:lnTo>
                          <a:pt x="185" y="25"/>
                        </a:lnTo>
                        <a:lnTo>
                          <a:pt x="186" y="18"/>
                        </a:lnTo>
                        <a:lnTo>
                          <a:pt x="189" y="12"/>
                        </a:lnTo>
                        <a:lnTo>
                          <a:pt x="196" y="5"/>
                        </a:lnTo>
                        <a:lnTo>
                          <a:pt x="198" y="2"/>
                        </a:lnTo>
                        <a:lnTo>
                          <a:pt x="199"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75" name="Freeform 254" descr="© INSCALE GmbH, 21.06.2010"/>
                  <p:cNvSpPr>
                    <a:spLocks noChangeAspect="1"/>
                  </p:cNvSpPr>
                  <p:nvPr/>
                </p:nvSpPr>
                <p:spPr bwMode="auto">
                  <a:xfrm>
                    <a:off x="3205633" y="4049668"/>
                    <a:ext cx="80456" cy="62423"/>
                  </a:xfrm>
                  <a:custGeom>
                    <a:avLst/>
                    <a:gdLst>
                      <a:gd name="T0" fmla="*/ 2147483646 w 84"/>
                      <a:gd name="T1" fmla="*/ 0 h 66"/>
                      <a:gd name="T2" fmla="*/ 2147483646 w 84"/>
                      <a:gd name="T3" fmla="*/ 0 h 66"/>
                      <a:gd name="T4" fmla="*/ 2147483646 w 84"/>
                      <a:gd name="T5" fmla="*/ 2147483646 h 66"/>
                      <a:gd name="T6" fmla="*/ 2147483646 w 84"/>
                      <a:gd name="T7" fmla="*/ 2147483646 h 66"/>
                      <a:gd name="T8" fmla="*/ 2147483646 w 84"/>
                      <a:gd name="T9" fmla="*/ 2147483646 h 66"/>
                      <a:gd name="T10" fmla="*/ 2147483646 w 84"/>
                      <a:gd name="T11" fmla="*/ 2147483646 h 66"/>
                      <a:gd name="T12" fmla="*/ 2147483646 w 84"/>
                      <a:gd name="T13" fmla="*/ 2147483646 h 66"/>
                      <a:gd name="T14" fmla="*/ 2147483646 w 84"/>
                      <a:gd name="T15" fmla="*/ 2147483646 h 66"/>
                      <a:gd name="T16" fmla="*/ 2147483646 w 84"/>
                      <a:gd name="T17" fmla="*/ 2147483646 h 66"/>
                      <a:gd name="T18" fmla="*/ 2147483646 w 84"/>
                      <a:gd name="T19" fmla="*/ 2147483646 h 66"/>
                      <a:gd name="T20" fmla="*/ 2147483646 w 84"/>
                      <a:gd name="T21" fmla="*/ 2147483646 h 66"/>
                      <a:gd name="T22" fmla="*/ 2147483646 w 84"/>
                      <a:gd name="T23" fmla="*/ 2147483646 h 66"/>
                      <a:gd name="T24" fmla="*/ 2147483646 w 84"/>
                      <a:gd name="T25" fmla="*/ 2147483646 h 66"/>
                      <a:gd name="T26" fmla="*/ 2147483646 w 84"/>
                      <a:gd name="T27" fmla="*/ 2147483646 h 66"/>
                      <a:gd name="T28" fmla="*/ 2147483646 w 84"/>
                      <a:gd name="T29" fmla="*/ 2147483646 h 66"/>
                      <a:gd name="T30" fmla="*/ 2147483646 w 84"/>
                      <a:gd name="T31" fmla="*/ 2147483646 h 66"/>
                      <a:gd name="T32" fmla="*/ 2147483646 w 84"/>
                      <a:gd name="T33" fmla="*/ 2147483646 h 66"/>
                      <a:gd name="T34" fmla="*/ 2147483646 w 84"/>
                      <a:gd name="T35" fmla="*/ 2147483646 h 66"/>
                      <a:gd name="T36" fmla="*/ 2147483646 w 84"/>
                      <a:gd name="T37" fmla="*/ 2147483646 h 66"/>
                      <a:gd name="T38" fmla="*/ 2147483646 w 84"/>
                      <a:gd name="T39" fmla="*/ 2147483646 h 66"/>
                      <a:gd name="T40" fmla="*/ 2147483646 w 84"/>
                      <a:gd name="T41" fmla="*/ 2147483646 h 66"/>
                      <a:gd name="T42" fmla="*/ 2147483646 w 84"/>
                      <a:gd name="T43" fmla="*/ 2147483646 h 66"/>
                      <a:gd name="T44" fmla="*/ 2147483646 w 84"/>
                      <a:gd name="T45" fmla="*/ 2147483646 h 66"/>
                      <a:gd name="T46" fmla="*/ 2147483646 w 84"/>
                      <a:gd name="T47" fmla="*/ 2147483646 h 66"/>
                      <a:gd name="T48" fmla="*/ 2147483646 w 84"/>
                      <a:gd name="T49" fmla="*/ 2147483646 h 66"/>
                      <a:gd name="T50" fmla="*/ 2147483646 w 84"/>
                      <a:gd name="T51" fmla="*/ 2147483646 h 66"/>
                      <a:gd name="T52" fmla="*/ 2147483646 w 84"/>
                      <a:gd name="T53" fmla="*/ 2147483646 h 66"/>
                      <a:gd name="T54" fmla="*/ 2147483646 w 84"/>
                      <a:gd name="T55" fmla="*/ 2147483646 h 66"/>
                      <a:gd name="T56" fmla="*/ 2147483646 w 84"/>
                      <a:gd name="T57" fmla="*/ 2147483646 h 66"/>
                      <a:gd name="T58" fmla="*/ 2147483646 w 84"/>
                      <a:gd name="T59" fmla="*/ 2147483646 h 66"/>
                      <a:gd name="T60" fmla="*/ 2147483646 w 84"/>
                      <a:gd name="T61" fmla="*/ 2147483646 h 66"/>
                      <a:gd name="T62" fmla="*/ 2147483646 w 84"/>
                      <a:gd name="T63" fmla="*/ 2147483646 h 66"/>
                      <a:gd name="T64" fmla="*/ 2147483646 w 84"/>
                      <a:gd name="T65" fmla="*/ 2147483646 h 66"/>
                      <a:gd name="T66" fmla="*/ 2147483646 w 84"/>
                      <a:gd name="T67" fmla="*/ 2147483646 h 66"/>
                      <a:gd name="T68" fmla="*/ 2147483646 w 84"/>
                      <a:gd name="T69" fmla="*/ 2147483646 h 66"/>
                      <a:gd name="T70" fmla="*/ 2147483646 w 84"/>
                      <a:gd name="T71" fmla="*/ 2147483646 h 66"/>
                      <a:gd name="T72" fmla="*/ 2147483646 w 84"/>
                      <a:gd name="T73" fmla="*/ 2147483646 h 66"/>
                      <a:gd name="T74" fmla="*/ 2147483646 w 84"/>
                      <a:gd name="T75" fmla="*/ 2147483646 h 66"/>
                      <a:gd name="T76" fmla="*/ 0 w 84"/>
                      <a:gd name="T77" fmla="*/ 2147483646 h 66"/>
                      <a:gd name="T78" fmla="*/ 0 w 84"/>
                      <a:gd name="T79" fmla="*/ 2147483646 h 66"/>
                      <a:gd name="T80" fmla="*/ 2147483646 w 84"/>
                      <a:gd name="T81" fmla="*/ 2147483646 h 66"/>
                      <a:gd name="T82" fmla="*/ 2147483646 w 84"/>
                      <a:gd name="T83" fmla="*/ 2147483646 h 66"/>
                      <a:gd name="T84" fmla="*/ 2147483646 w 84"/>
                      <a:gd name="T85" fmla="*/ 2147483646 h 66"/>
                      <a:gd name="T86" fmla="*/ 2147483646 w 84"/>
                      <a:gd name="T87" fmla="*/ 2147483646 h 66"/>
                      <a:gd name="T88" fmla="*/ 2147483646 w 84"/>
                      <a:gd name="T89" fmla="*/ 2147483646 h 66"/>
                      <a:gd name="T90" fmla="*/ 2147483646 w 84"/>
                      <a:gd name="T91" fmla="*/ 2147483646 h 66"/>
                      <a:gd name="T92" fmla="*/ 2147483646 w 84"/>
                      <a:gd name="T93" fmla="*/ 2147483646 h 66"/>
                      <a:gd name="T94" fmla="*/ 2147483646 w 84"/>
                      <a:gd name="T95" fmla="*/ 2147483646 h 66"/>
                      <a:gd name="T96" fmla="*/ 2147483646 w 84"/>
                      <a:gd name="T97" fmla="*/ 2147483646 h 66"/>
                      <a:gd name="T98" fmla="*/ 2147483646 w 84"/>
                      <a:gd name="T99" fmla="*/ 2147483646 h 66"/>
                      <a:gd name="T100" fmla="*/ 2147483646 w 84"/>
                      <a:gd name="T101" fmla="*/ 0 h 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
                      <a:gd name="T154" fmla="*/ 0 h 66"/>
                      <a:gd name="T155" fmla="*/ 84 w 84"/>
                      <a:gd name="T156" fmla="*/ 66 h 6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 h="66">
                        <a:moveTo>
                          <a:pt x="48" y="0"/>
                        </a:moveTo>
                        <a:lnTo>
                          <a:pt x="56" y="0"/>
                        </a:lnTo>
                        <a:lnTo>
                          <a:pt x="57" y="2"/>
                        </a:lnTo>
                        <a:lnTo>
                          <a:pt x="59" y="2"/>
                        </a:lnTo>
                        <a:lnTo>
                          <a:pt x="60" y="5"/>
                        </a:lnTo>
                        <a:lnTo>
                          <a:pt x="62" y="6"/>
                        </a:lnTo>
                        <a:lnTo>
                          <a:pt x="62" y="12"/>
                        </a:lnTo>
                        <a:lnTo>
                          <a:pt x="63" y="14"/>
                        </a:lnTo>
                        <a:lnTo>
                          <a:pt x="63" y="15"/>
                        </a:lnTo>
                        <a:lnTo>
                          <a:pt x="71" y="32"/>
                        </a:lnTo>
                        <a:lnTo>
                          <a:pt x="72" y="33"/>
                        </a:lnTo>
                        <a:lnTo>
                          <a:pt x="72" y="43"/>
                        </a:lnTo>
                        <a:lnTo>
                          <a:pt x="84" y="43"/>
                        </a:lnTo>
                        <a:lnTo>
                          <a:pt x="82" y="61"/>
                        </a:lnTo>
                        <a:lnTo>
                          <a:pt x="81" y="63"/>
                        </a:lnTo>
                        <a:lnTo>
                          <a:pt x="75" y="66"/>
                        </a:lnTo>
                        <a:lnTo>
                          <a:pt x="68" y="66"/>
                        </a:lnTo>
                        <a:lnTo>
                          <a:pt x="66" y="64"/>
                        </a:lnTo>
                        <a:lnTo>
                          <a:pt x="65" y="61"/>
                        </a:lnTo>
                        <a:lnTo>
                          <a:pt x="65" y="58"/>
                        </a:lnTo>
                        <a:lnTo>
                          <a:pt x="63" y="58"/>
                        </a:lnTo>
                        <a:lnTo>
                          <a:pt x="62" y="57"/>
                        </a:lnTo>
                        <a:lnTo>
                          <a:pt x="57" y="55"/>
                        </a:lnTo>
                        <a:lnTo>
                          <a:pt x="51" y="54"/>
                        </a:lnTo>
                        <a:lnTo>
                          <a:pt x="44" y="54"/>
                        </a:lnTo>
                        <a:lnTo>
                          <a:pt x="44" y="60"/>
                        </a:lnTo>
                        <a:lnTo>
                          <a:pt x="42" y="60"/>
                        </a:lnTo>
                        <a:lnTo>
                          <a:pt x="40" y="57"/>
                        </a:lnTo>
                        <a:lnTo>
                          <a:pt x="37" y="57"/>
                        </a:lnTo>
                        <a:lnTo>
                          <a:pt x="35" y="55"/>
                        </a:lnTo>
                        <a:lnTo>
                          <a:pt x="31" y="55"/>
                        </a:lnTo>
                        <a:lnTo>
                          <a:pt x="25" y="58"/>
                        </a:lnTo>
                        <a:lnTo>
                          <a:pt x="20" y="63"/>
                        </a:lnTo>
                        <a:lnTo>
                          <a:pt x="19" y="63"/>
                        </a:lnTo>
                        <a:lnTo>
                          <a:pt x="14" y="48"/>
                        </a:lnTo>
                        <a:lnTo>
                          <a:pt x="6" y="48"/>
                        </a:lnTo>
                        <a:lnTo>
                          <a:pt x="3" y="46"/>
                        </a:lnTo>
                        <a:lnTo>
                          <a:pt x="1" y="46"/>
                        </a:lnTo>
                        <a:lnTo>
                          <a:pt x="0" y="45"/>
                        </a:lnTo>
                        <a:lnTo>
                          <a:pt x="0" y="42"/>
                        </a:lnTo>
                        <a:lnTo>
                          <a:pt x="1" y="37"/>
                        </a:lnTo>
                        <a:lnTo>
                          <a:pt x="6" y="33"/>
                        </a:lnTo>
                        <a:lnTo>
                          <a:pt x="11" y="30"/>
                        </a:lnTo>
                        <a:lnTo>
                          <a:pt x="16" y="27"/>
                        </a:lnTo>
                        <a:lnTo>
                          <a:pt x="19" y="24"/>
                        </a:lnTo>
                        <a:lnTo>
                          <a:pt x="25" y="21"/>
                        </a:lnTo>
                        <a:lnTo>
                          <a:pt x="40" y="6"/>
                        </a:lnTo>
                        <a:lnTo>
                          <a:pt x="42" y="5"/>
                        </a:lnTo>
                        <a:lnTo>
                          <a:pt x="44" y="3"/>
                        </a:lnTo>
                        <a:lnTo>
                          <a:pt x="47" y="2"/>
                        </a:lnTo>
                        <a:lnTo>
                          <a:pt x="48"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76" name="Freeform 255" descr="© INSCALE GmbH, 21.06.2010"/>
                  <p:cNvSpPr>
                    <a:spLocks noChangeAspect="1"/>
                  </p:cNvSpPr>
                  <p:nvPr/>
                </p:nvSpPr>
                <p:spPr bwMode="auto">
                  <a:xfrm>
                    <a:off x="3187599" y="4123189"/>
                    <a:ext cx="77682" cy="49938"/>
                  </a:xfrm>
                  <a:custGeom>
                    <a:avLst/>
                    <a:gdLst>
                      <a:gd name="T0" fmla="*/ 2147483646 w 81"/>
                      <a:gd name="T1" fmla="*/ 0 h 52"/>
                      <a:gd name="T2" fmla="*/ 2147483646 w 81"/>
                      <a:gd name="T3" fmla="*/ 0 h 52"/>
                      <a:gd name="T4" fmla="*/ 2147483646 w 81"/>
                      <a:gd name="T5" fmla="*/ 2147483646 h 52"/>
                      <a:gd name="T6" fmla="*/ 2147483646 w 81"/>
                      <a:gd name="T7" fmla="*/ 2147483646 h 52"/>
                      <a:gd name="T8" fmla="*/ 2147483646 w 81"/>
                      <a:gd name="T9" fmla="*/ 2147483646 h 52"/>
                      <a:gd name="T10" fmla="*/ 2147483646 w 81"/>
                      <a:gd name="T11" fmla="*/ 2147483646 h 52"/>
                      <a:gd name="T12" fmla="*/ 2147483646 w 81"/>
                      <a:gd name="T13" fmla="*/ 2147483646 h 52"/>
                      <a:gd name="T14" fmla="*/ 2147483646 w 81"/>
                      <a:gd name="T15" fmla="*/ 2147483646 h 52"/>
                      <a:gd name="T16" fmla="*/ 2147483646 w 81"/>
                      <a:gd name="T17" fmla="*/ 2147483646 h 52"/>
                      <a:gd name="T18" fmla="*/ 2147483646 w 81"/>
                      <a:gd name="T19" fmla="*/ 2147483646 h 52"/>
                      <a:gd name="T20" fmla="*/ 2147483646 w 81"/>
                      <a:gd name="T21" fmla="*/ 2147483646 h 52"/>
                      <a:gd name="T22" fmla="*/ 2147483646 w 81"/>
                      <a:gd name="T23" fmla="*/ 2147483646 h 52"/>
                      <a:gd name="T24" fmla="*/ 2147483646 w 81"/>
                      <a:gd name="T25" fmla="*/ 2147483646 h 52"/>
                      <a:gd name="T26" fmla="*/ 2147483646 w 81"/>
                      <a:gd name="T27" fmla="*/ 2147483646 h 52"/>
                      <a:gd name="T28" fmla="*/ 2147483646 w 81"/>
                      <a:gd name="T29" fmla="*/ 2147483646 h 52"/>
                      <a:gd name="T30" fmla="*/ 2147483646 w 81"/>
                      <a:gd name="T31" fmla="*/ 2147483646 h 52"/>
                      <a:gd name="T32" fmla="*/ 2147483646 w 81"/>
                      <a:gd name="T33" fmla="*/ 2147483646 h 52"/>
                      <a:gd name="T34" fmla="*/ 2147483646 w 81"/>
                      <a:gd name="T35" fmla="*/ 2147483646 h 52"/>
                      <a:gd name="T36" fmla="*/ 2147483646 w 81"/>
                      <a:gd name="T37" fmla="*/ 2147483646 h 52"/>
                      <a:gd name="T38" fmla="*/ 2147483646 w 81"/>
                      <a:gd name="T39" fmla="*/ 2147483646 h 52"/>
                      <a:gd name="T40" fmla="*/ 2147483646 w 81"/>
                      <a:gd name="T41" fmla="*/ 2147483646 h 52"/>
                      <a:gd name="T42" fmla="*/ 2147483646 w 81"/>
                      <a:gd name="T43" fmla="*/ 2147483646 h 52"/>
                      <a:gd name="T44" fmla="*/ 2147483646 w 81"/>
                      <a:gd name="T45" fmla="*/ 2147483646 h 52"/>
                      <a:gd name="T46" fmla="*/ 2147483646 w 81"/>
                      <a:gd name="T47" fmla="*/ 2147483646 h 52"/>
                      <a:gd name="T48" fmla="*/ 2147483646 w 81"/>
                      <a:gd name="T49" fmla="*/ 2147483646 h 52"/>
                      <a:gd name="T50" fmla="*/ 2147483646 w 81"/>
                      <a:gd name="T51" fmla="*/ 2147483646 h 52"/>
                      <a:gd name="T52" fmla="*/ 2147483646 w 81"/>
                      <a:gd name="T53" fmla="*/ 2147483646 h 52"/>
                      <a:gd name="T54" fmla="*/ 2147483646 w 81"/>
                      <a:gd name="T55" fmla="*/ 2147483646 h 52"/>
                      <a:gd name="T56" fmla="*/ 0 w 81"/>
                      <a:gd name="T57" fmla="*/ 2147483646 h 52"/>
                      <a:gd name="T58" fmla="*/ 2147483646 w 81"/>
                      <a:gd name="T59" fmla="*/ 2147483646 h 52"/>
                      <a:gd name="T60" fmla="*/ 2147483646 w 81"/>
                      <a:gd name="T61" fmla="*/ 2147483646 h 52"/>
                      <a:gd name="T62" fmla="*/ 2147483646 w 81"/>
                      <a:gd name="T63" fmla="*/ 2147483646 h 52"/>
                      <a:gd name="T64" fmla="*/ 2147483646 w 81"/>
                      <a:gd name="T65" fmla="*/ 2147483646 h 52"/>
                      <a:gd name="T66" fmla="*/ 2147483646 w 81"/>
                      <a:gd name="T67" fmla="*/ 2147483646 h 52"/>
                      <a:gd name="T68" fmla="*/ 2147483646 w 81"/>
                      <a:gd name="T69" fmla="*/ 2147483646 h 52"/>
                      <a:gd name="T70" fmla="*/ 2147483646 w 81"/>
                      <a:gd name="T71" fmla="*/ 2147483646 h 52"/>
                      <a:gd name="T72" fmla="*/ 2147483646 w 81"/>
                      <a:gd name="T73" fmla="*/ 2147483646 h 52"/>
                      <a:gd name="T74" fmla="*/ 2147483646 w 81"/>
                      <a:gd name="T75" fmla="*/ 2147483646 h 52"/>
                      <a:gd name="T76" fmla="*/ 2147483646 w 81"/>
                      <a:gd name="T77" fmla="*/ 2147483646 h 52"/>
                      <a:gd name="T78" fmla="*/ 2147483646 w 81"/>
                      <a:gd name="T79" fmla="*/ 2147483646 h 52"/>
                      <a:gd name="T80" fmla="*/ 2147483646 w 81"/>
                      <a:gd name="T81" fmla="*/ 2147483646 h 52"/>
                      <a:gd name="T82" fmla="*/ 2147483646 w 81"/>
                      <a:gd name="T83" fmla="*/ 2147483646 h 52"/>
                      <a:gd name="T84" fmla="*/ 2147483646 w 81"/>
                      <a:gd name="T85" fmla="*/ 2147483646 h 52"/>
                      <a:gd name="T86" fmla="*/ 2147483646 w 81"/>
                      <a:gd name="T87" fmla="*/ 2147483646 h 52"/>
                      <a:gd name="T88" fmla="*/ 2147483646 w 81"/>
                      <a:gd name="T89" fmla="*/ 2147483646 h 52"/>
                      <a:gd name="T90" fmla="*/ 2147483646 w 81"/>
                      <a:gd name="T91" fmla="*/ 2147483646 h 52"/>
                      <a:gd name="T92" fmla="*/ 2147483646 w 81"/>
                      <a:gd name="T93" fmla="*/ 2147483646 h 52"/>
                      <a:gd name="T94" fmla="*/ 2147483646 w 81"/>
                      <a:gd name="T95" fmla="*/ 0 h 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1"/>
                      <a:gd name="T145" fmla="*/ 0 h 52"/>
                      <a:gd name="T146" fmla="*/ 81 w 81"/>
                      <a:gd name="T147" fmla="*/ 52 h 5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1" h="52">
                        <a:moveTo>
                          <a:pt x="50" y="0"/>
                        </a:moveTo>
                        <a:lnTo>
                          <a:pt x="65" y="0"/>
                        </a:lnTo>
                        <a:lnTo>
                          <a:pt x="63" y="3"/>
                        </a:lnTo>
                        <a:lnTo>
                          <a:pt x="62" y="5"/>
                        </a:lnTo>
                        <a:lnTo>
                          <a:pt x="61" y="8"/>
                        </a:lnTo>
                        <a:lnTo>
                          <a:pt x="61" y="15"/>
                        </a:lnTo>
                        <a:lnTo>
                          <a:pt x="69" y="20"/>
                        </a:lnTo>
                        <a:lnTo>
                          <a:pt x="71" y="21"/>
                        </a:lnTo>
                        <a:lnTo>
                          <a:pt x="72" y="21"/>
                        </a:lnTo>
                        <a:lnTo>
                          <a:pt x="81" y="24"/>
                        </a:lnTo>
                        <a:lnTo>
                          <a:pt x="72" y="33"/>
                        </a:lnTo>
                        <a:lnTo>
                          <a:pt x="72" y="43"/>
                        </a:lnTo>
                        <a:lnTo>
                          <a:pt x="62" y="48"/>
                        </a:lnTo>
                        <a:lnTo>
                          <a:pt x="55" y="48"/>
                        </a:lnTo>
                        <a:lnTo>
                          <a:pt x="50" y="46"/>
                        </a:lnTo>
                        <a:lnTo>
                          <a:pt x="38" y="46"/>
                        </a:lnTo>
                        <a:lnTo>
                          <a:pt x="37" y="48"/>
                        </a:lnTo>
                        <a:lnTo>
                          <a:pt x="32" y="51"/>
                        </a:lnTo>
                        <a:lnTo>
                          <a:pt x="31" y="52"/>
                        </a:lnTo>
                        <a:lnTo>
                          <a:pt x="27" y="52"/>
                        </a:lnTo>
                        <a:lnTo>
                          <a:pt x="25" y="51"/>
                        </a:lnTo>
                        <a:lnTo>
                          <a:pt x="25" y="49"/>
                        </a:lnTo>
                        <a:lnTo>
                          <a:pt x="24" y="46"/>
                        </a:lnTo>
                        <a:lnTo>
                          <a:pt x="24" y="43"/>
                        </a:lnTo>
                        <a:lnTo>
                          <a:pt x="21" y="39"/>
                        </a:lnTo>
                        <a:lnTo>
                          <a:pt x="15" y="31"/>
                        </a:lnTo>
                        <a:lnTo>
                          <a:pt x="7" y="26"/>
                        </a:lnTo>
                        <a:lnTo>
                          <a:pt x="3" y="20"/>
                        </a:lnTo>
                        <a:lnTo>
                          <a:pt x="0" y="18"/>
                        </a:lnTo>
                        <a:lnTo>
                          <a:pt x="4" y="9"/>
                        </a:lnTo>
                        <a:lnTo>
                          <a:pt x="6" y="11"/>
                        </a:lnTo>
                        <a:lnTo>
                          <a:pt x="12" y="14"/>
                        </a:lnTo>
                        <a:lnTo>
                          <a:pt x="13" y="15"/>
                        </a:lnTo>
                        <a:lnTo>
                          <a:pt x="16" y="17"/>
                        </a:lnTo>
                        <a:lnTo>
                          <a:pt x="21" y="17"/>
                        </a:lnTo>
                        <a:lnTo>
                          <a:pt x="25" y="12"/>
                        </a:lnTo>
                        <a:lnTo>
                          <a:pt x="28" y="11"/>
                        </a:lnTo>
                        <a:lnTo>
                          <a:pt x="29" y="9"/>
                        </a:lnTo>
                        <a:lnTo>
                          <a:pt x="31" y="9"/>
                        </a:lnTo>
                        <a:lnTo>
                          <a:pt x="31" y="8"/>
                        </a:lnTo>
                        <a:lnTo>
                          <a:pt x="32" y="5"/>
                        </a:lnTo>
                        <a:lnTo>
                          <a:pt x="35" y="6"/>
                        </a:lnTo>
                        <a:lnTo>
                          <a:pt x="37" y="8"/>
                        </a:lnTo>
                        <a:lnTo>
                          <a:pt x="40" y="9"/>
                        </a:lnTo>
                        <a:lnTo>
                          <a:pt x="43" y="8"/>
                        </a:lnTo>
                        <a:lnTo>
                          <a:pt x="46" y="5"/>
                        </a:lnTo>
                        <a:lnTo>
                          <a:pt x="47" y="2"/>
                        </a:lnTo>
                        <a:lnTo>
                          <a:pt x="50"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77" name="Freeform 256" descr="© INSCALE GmbH, 21.06.2010"/>
                  <p:cNvSpPr>
                    <a:spLocks noChangeAspect="1"/>
                  </p:cNvSpPr>
                  <p:nvPr/>
                </p:nvSpPr>
                <p:spPr bwMode="auto">
                  <a:xfrm>
                    <a:off x="3274991" y="4046894"/>
                    <a:ext cx="62423" cy="52713"/>
                  </a:xfrm>
                  <a:custGeom>
                    <a:avLst/>
                    <a:gdLst>
                      <a:gd name="T0" fmla="*/ 2147483646 w 66"/>
                      <a:gd name="T1" fmla="*/ 0 h 54"/>
                      <a:gd name="T2" fmla="*/ 2147483646 w 66"/>
                      <a:gd name="T3" fmla="*/ 0 h 54"/>
                      <a:gd name="T4" fmla="*/ 2147483646 w 66"/>
                      <a:gd name="T5" fmla="*/ 2147483646 h 54"/>
                      <a:gd name="T6" fmla="*/ 2147483646 w 66"/>
                      <a:gd name="T7" fmla="*/ 2147483646 h 54"/>
                      <a:gd name="T8" fmla="*/ 2147483646 w 66"/>
                      <a:gd name="T9" fmla="*/ 2147483646 h 54"/>
                      <a:gd name="T10" fmla="*/ 2147483646 w 66"/>
                      <a:gd name="T11" fmla="*/ 2147483646 h 54"/>
                      <a:gd name="T12" fmla="*/ 2147483646 w 66"/>
                      <a:gd name="T13" fmla="*/ 2147483646 h 54"/>
                      <a:gd name="T14" fmla="*/ 2147483646 w 66"/>
                      <a:gd name="T15" fmla="*/ 2147483646 h 54"/>
                      <a:gd name="T16" fmla="*/ 2147483646 w 66"/>
                      <a:gd name="T17" fmla="*/ 2147483646 h 54"/>
                      <a:gd name="T18" fmla="*/ 2147483646 w 66"/>
                      <a:gd name="T19" fmla="*/ 2147483646 h 54"/>
                      <a:gd name="T20" fmla="*/ 2147483646 w 66"/>
                      <a:gd name="T21" fmla="*/ 2147483646 h 54"/>
                      <a:gd name="T22" fmla="*/ 2147483646 w 66"/>
                      <a:gd name="T23" fmla="*/ 2147483646 h 54"/>
                      <a:gd name="T24" fmla="*/ 2147483646 w 66"/>
                      <a:gd name="T25" fmla="*/ 2147483646 h 54"/>
                      <a:gd name="T26" fmla="*/ 2147483646 w 66"/>
                      <a:gd name="T27" fmla="*/ 2147483646 h 54"/>
                      <a:gd name="T28" fmla="*/ 2147483646 w 66"/>
                      <a:gd name="T29" fmla="*/ 2147483646 h 54"/>
                      <a:gd name="T30" fmla="*/ 2147483646 w 66"/>
                      <a:gd name="T31" fmla="*/ 2147483646 h 54"/>
                      <a:gd name="T32" fmla="*/ 2147483646 w 66"/>
                      <a:gd name="T33" fmla="*/ 2147483646 h 54"/>
                      <a:gd name="T34" fmla="*/ 2147483646 w 66"/>
                      <a:gd name="T35" fmla="*/ 2147483646 h 54"/>
                      <a:gd name="T36" fmla="*/ 2147483646 w 66"/>
                      <a:gd name="T37" fmla="*/ 2147483646 h 54"/>
                      <a:gd name="T38" fmla="*/ 2147483646 w 66"/>
                      <a:gd name="T39" fmla="*/ 2147483646 h 54"/>
                      <a:gd name="T40" fmla="*/ 2147483646 w 66"/>
                      <a:gd name="T41" fmla="*/ 2147483646 h 54"/>
                      <a:gd name="T42" fmla="*/ 2147483646 w 66"/>
                      <a:gd name="T43" fmla="*/ 2147483646 h 54"/>
                      <a:gd name="T44" fmla="*/ 2147483646 w 66"/>
                      <a:gd name="T45" fmla="*/ 2147483646 h 54"/>
                      <a:gd name="T46" fmla="*/ 2147483646 w 66"/>
                      <a:gd name="T47" fmla="*/ 2147483646 h 54"/>
                      <a:gd name="T48" fmla="*/ 2147483646 w 66"/>
                      <a:gd name="T49" fmla="*/ 2147483646 h 54"/>
                      <a:gd name="T50" fmla="*/ 2147483646 w 66"/>
                      <a:gd name="T51" fmla="*/ 2147483646 h 54"/>
                      <a:gd name="T52" fmla="*/ 2147483646 w 66"/>
                      <a:gd name="T53" fmla="*/ 2147483646 h 54"/>
                      <a:gd name="T54" fmla="*/ 2147483646 w 66"/>
                      <a:gd name="T55" fmla="*/ 2147483646 h 54"/>
                      <a:gd name="T56" fmla="*/ 2147483646 w 66"/>
                      <a:gd name="T57" fmla="*/ 2147483646 h 54"/>
                      <a:gd name="T58" fmla="*/ 2147483646 w 66"/>
                      <a:gd name="T59" fmla="*/ 2147483646 h 54"/>
                      <a:gd name="T60" fmla="*/ 2147483646 w 66"/>
                      <a:gd name="T61" fmla="*/ 2147483646 h 54"/>
                      <a:gd name="T62" fmla="*/ 2147483646 w 66"/>
                      <a:gd name="T63" fmla="*/ 2147483646 h 54"/>
                      <a:gd name="T64" fmla="*/ 2147483646 w 66"/>
                      <a:gd name="T65" fmla="*/ 2147483646 h 54"/>
                      <a:gd name="T66" fmla="*/ 2147483646 w 66"/>
                      <a:gd name="T67" fmla="*/ 2147483646 h 54"/>
                      <a:gd name="T68" fmla="*/ 0 w 66"/>
                      <a:gd name="T69" fmla="*/ 2147483646 h 54"/>
                      <a:gd name="T70" fmla="*/ 2147483646 w 66"/>
                      <a:gd name="T71" fmla="*/ 2147483646 h 54"/>
                      <a:gd name="T72" fmla="*/ 2147483646 w 66"/>
                      <a:gd name="T73" fmla="*/ 2147483646 h 54"/>
                      <a:gd name="T74" fmla="*/ 2147483646 w 66"/>
                      <a:gd name="T75" fmla="*/ 2147483646 h 54"/>
                      <a:gd name="T76" fmla="*/ 2147483646 w 66"/>
                      <a:gd name="T77" fmla="*/ 2147483646 h 54"/>
                      <a:gd name="T78" fmla="*/ 2147483646 w 66"/>
                      <a:gd name="T79" fmla="*/ 2147483646 h 54"/>
                      <a:gd name="T80" fmla="*/ 2147483646 w 66"/>
                      <a:gd name="T81" fmla="*/ 2147483646 h 54"/>
                      <a:gd name="T82" fmla="*/ 2147483646 w 66"/>
                      <a:gd name="T83" fmla="*/ 2147483646 h 54"/>
                      <a:gd name="T84" fmla="*/ 2147483646 w 66"/>
                      <a:gd name="T85" fmla="*/ 2147483646 h 54"/>
                      <a:gd name="T86" fmla="*/ 2147483646 w 66"/>
                      <a:gd name="T87" fmla="*/ 2147483646 h 54"/>
                      <a:gd name="T88" fmla="*/ 2147483646 w 66"/>
                      <a:gd name="T89" fmla="*/ 2147483646 h 54"/>
                      <a:gd name="T90" fmla="*/ 2147483646 w 66"/>
                      <a:gd name="T91" fmla="*/ 2147483646 h 54"/>
                      <a:gd name="T92" fmla="*/ 2147483646 w 66"/>
                      <a:gd name="T93" fmla="*/ 2147483646 h 54"/>
                      <a:gd name="T94" fmla="*/ 2147483646 w 66"/>
                      <a:gd name="T95" fmla="*/ 0 h 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
                      <a:gd name="T145" fmla="*/ 0 h 54"/>
                      <a:gd name="T146" fmla="*/ 66 w 66"/>
                      <a:gd name="T147" fmla="*/ 54 h 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 h="54">
                        <a:moveTo>
                          <a:pt x="42" y="0"/>
                        </a:moveTo>
                        <a:lnTo>
                          <a:pt x="45" y="0"/>
                        </a:lnTo>
                        <a:lnTo>
                          <a:pt x="48" y="1"/>
                        </a:lnTo>
                        <a:lnTo>
                          <a:pt x="51" y="4"/>
                        </a:lnTo>
                        <a:lnTo>
                          <a:pt x="53" y="7"/>
                        </a:lnTo>
                        <a:lnTo>
                          <a:pt x="54" y="8"/>
                        </a:lnTo>
                        <a:lnTo>
                          <a:pt x="54" y="10"/>
                        </a:lnTo>
                        <a:lnTo>
                          <a:pt x="65" y="13"/>
                        </a:lnTo>
                        <a:lnTo>
                          <a:pt x="66" y="16"/>
                        </a:lnTo>
                        <a:lnTo>
                          <a:pt x="66" y="22"/>
                        </a:lnTo>
                        <a:lnTo>
                          <a:pt x="65" y="25"/>
                        </a:lnTo>
                        <a:lnTo>
                          <a:pt x="65" y="26"/>
                        </a:lnTo>
                        <a:lnTo>
                          <a:pt x="63" y="26"/>
                        </a:lnTo>
                        <a:lnTo>
                          <a:pt x="65" y="28"/>
                        </a:lnTo>
                        <a:lnTo>
                          <a:pt x="66" y="31"/>
                        </a:lnTo>
                        <a:lnTo>
                          <a:pt x="66" y="32"/>
                        </a:lnTo>
                        <a:lnTo>
                          <a:pt x="65" y="34"/>
                        </a:lnTo>
                        <a:lnTo>
                          <a:pt x="62" y="42"/>
                        </a:lnTo>
                        <a:lnTo>
                          <a:pt x="62" y="50"/>
                        </a:lnTo>
                        <a:lnTo>
                          <a:pt x="60" y="53"/>
                        </a:lnTo>
                        <a:lnTo>
                          <a:pt x="59" y="54"/>
                        </a:lnTo>
                        <a:lnTo>
                          <a:pt x="53" y="54"/>
                        </a:lnTo>
                        <a:lnTo>
                          <a:pt x="50" y="51"/>
                        </a:lnTo>
                        <a:lnTo>
                          <a:pt x="48" y="48"/>
                        </a:lnTo>
                        <a:lnTo>
                          <a:pt x="45" y="47"/>
                        </a:lnTo>
                        <a:lnTo>
                          <a:pt x="44" y="44"/>
                        </a:lnTo>
                        <a:lnTo>
                          <a:pt x="42" y="42"/>
                        </a:lnTo>
                        <a:lnTo>
                          <a:pt x="35" y="42"/>
                        </a:lnTo>
                        <a:lnTo>
                          <a:pt x="29" y="45"/>
                        </a:lnTo>
                        <a:lnTo>
                          <a:pt x="28" y="47"/>
                        </a:lnTo>
                        <a:lnTo>
                          <a:pt x="26" y="47"/>
                        </a:lnTo>
                        <a:lnTo>
                          <a:pt x="13" y="45"/>
                        </a:lnTo>
                        <a:lnTo>
                          <a:pt x="1" y="45"/>
                        </a:lnTo>
                        <a:lnTo>
                          <a:pt x="1" y="35"/>
                        </a:lnTo>
                        <a:lnTo>
                          <a:pt x="0" y="34"/>
                        </a:lnTo>
                        <a:lnTo>
                          <a:pt x="1" y="34"/>
                        </a:lnTo>
                        <a:lnTo>
                          <a:pt x="4" y="32"/>
                        </a:lnTo>
                        <a:lnTo>
                          <a:pt x="6" y="32"/>
                        </a:lnTo>
                        <a:lnTo>
                          <a:pt x="7" y="31"/>
                        </a:lnTo>
                        <a:lnTo>
                          <a:pt x="7" y="17"/>
                        </a:lnTo>
                        <a:lnTo>
                          <a:pt x="10" y="14"/>
                        </a:lnTo>
                        <a:lnTo>
                          <a:pt x="14" y="13"/>
                        </a:lnTo>
                        <a:lnTo>
                          <a:pt x="20" y="11"/>
                        </a:lnTo>
                        <a:lnTo>
                          <a:pt x="23" y="8"/>
                        </a:lnTo>
                        <a:lnTo>
                          <a:pt x="26" y="7"/>
                        </a:lnTo>
                        <a:lnTo>
                          <a:pt x="28" y="5"/>
                        </a:lnTo>
                        <a:lnTo>
                          <a:pt x="31" y="5"/>
                        </a:lnTo>
                        <a:lnTo>
                          <a:pt x="42"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78" name="Freeform 257" descr="© INSCALE GmbH, 21.06.2010"/>
                  <p:cNvSpPr>
                    <a:spLocks noChangeAspect="1"/>
                  </p:cNvSpPr>
                  <p:nvPr/>
                </p:nvSpPr>
                <p:spPr bwMode="auto">
                  <a:xfrm>
                    <a:off x="3233376" y="3991407"/>
                    <a:ext cx="106813" cy="88779"/>
                  </a:xfrm>
                  <a:custGeom>
                    <a:avLst/>
                    <a:gdLst>
                      <a:gd name="T0" fmla="*/ 2147483646 w 111"/>
                      <a:gd name="T1" fmla="*/ 2147483646 h 92"/>
                      <a:gd name="T2" fmla="*/ 2147483646 w 111"/>
                      <a:gd name="T3" fmla="*/ 2147483646 h 92"/>
                      <a:gd name="T4" fmla="*/ 2147483646 w 111"/>
                      <a:gd name="T5" fmla="*/ 2147483646 h 92"/>
                      <a:gd name="T6" fmla="*/ 2147483646 w 111"/>
                      <a:gd name="T7" fmla="*/ 2147483646 h 92"/>
                      <a:gd name="T8" fmla="*/ 2147483646 w 111"/>
                      <a:gd name="T9" fmla="*/ 2147483646 h 92"/>
                      <a:gd name="T10" fmla="*/ 2147483646 w 111"/>
                      <a:gd name="T11" fmla="*/ 2147483646 h 92"/>
                      <a:gd name="T12" fmla="*/ 2147483646 w 111"/>
                      <a:gd name="T13" fmla="*/ 2147483646 h 92"/>
                      <a:gd name="T14" fmla="*/ 2147483646 w 111"/>
                      <a:gd name="T15" fmla="*/ 2147483646 h 92"/>
                      <a:gd name="T16" fmla="*/ 2147483646 w 111"/>
                      <a:gd name="T17" fmla="*/ 2147483646 h 92"/>
                      <a:gd name="T18" fmla="*/ 2147483646 w 111"/>
                      <a:gd name="T19" fmla="*/ 2147483646 h 92"/>
                      <a:gd name="T20" fmla="*/ 2147483646 w 111"/>
                      <a:gd name="T21" fmla="*/ 2147483646 h 92"/>
                      <a:gd name="T22" fmla="*/ 2147483646 w 111"/>
                      <a:gd name="T23" fmla="*/ 2147483646 h 92"/>
                      <a:gd name="T24" fmla="*/ 2147483646 w 111"/>
                      <a:gd name="T25" fmla="*/ 2147483646 h 92"/>
                      <a:gd name="T26" fmla="*/ 2147483646 w 111"/>
                      <a:gd name="T27" fmla="*/ 2147483646 h 92"/>
                      <a:gd name="T28" fmla="*/ 2147483646 w 111"/>
                      <a:gd name="T29" fmla="*/ 2147483646 h 92"/>
                      <a:gd name="T30" fmla="*/ 2147483646 w 111"/>
                      <a:gd name="T31" fmla="*/ 2147483646 h 92"/>
                      <a:gd name="T32" fmla="*/ 2147483646 w 111"/>
                      <a:gd name="T33" fmla="*/ 2147483646 h 92"/>
                      <a:gd name="T34" fmla="*/ 2147483646 w 111"/>
                      <a:gd name="T35" fmla="*/ 2147483646 h 92"/>
                      <a:gd name="T36" fmla="*/ 2147483646 w 111"/>
                      <a:gd name="T37" fmla="*/ 2147483646 h 92"/>
                      <a:gd name="T38" fmla="*/ 2147483646 w 111"/>
                      <a:gd name="T39" fmla="*/ 2147483646 h 92"/>
                      <a:gd name="T40" fmla="*/ 2147483646 w 111"/>
                      <a:gd name="T41" fmla="*/ 2147483646 h 92"/>
                      <a:gd name="T42" fmla="*/ 2147483646 w 111"/>
                      <a:gd name="T43" fmla="*/ 2147483646 h 92"/>
                      <a:gd name="T44" fmla="*/ 2147483646 w 111"/>
                      <a:gd name="T45" fmla="*/ 2147483646 h 92"/>
                      <a:gd name="T46" fmla="*/ 2147483646 w 111"/>
                      <a:gd name="T47" fmla="*/ 2147483646 h 92"/>
                      <a:gd name="T48" fmla="*/ 2147483646 w 111"/>
                      <a:gd name="T49" fmla="*/ 2147483646 h 92"/>
                      <a:gd name="T50" fmla="*/ 2147483646 w 111"/>
                      <a:gd name="T51" fmla="*/ 2147483646 h 92"/>
                      <a:gd name="T52" fmla="*/ 2147483646 w 111"/>
                      <a:gd name="T53" fmla="*/ 2147483646 h 92"/>
                      <a:gd name="T54" fmla="*/ 2147483646 w 111"/>
                      <a:gd name="T55" fmla="*/ 2147483646 h 92"/>
                      <a:gd name="T56" fmla="*/ 2147483646 w 111"/>
                      <a:gd name="T57" fmla="*/ 2147483646 h 92"/>
                      <a:gd name="T58" fmla="*/ 2147483646 w 111"/>
                      <a:gd name="T59" fmla="*/ 2147483646 h 92"/>
                      <a:gd name="T60" fmla="*/ 2147483646 w 111"/>
                      <a:gd name="T61" fmla="*/ 2147483646 h 92"/>
                      <a:gd name="T62" fmla="*/ 2147483646 w 111"/>
                      <a:gd name="T63" fmla="*/ 2147483646 h 92"/>
                      <a:gd name="T64" fmla="*/ 2147483646 w 111"/>
                      <a:gd name="T65" fmla="*/ 2147483646 h 92"/>
                      <a:gd name="T66" fmla="*/ 2147483646 w 111"/>
                      <a:gd name="T67" fmla="*/ 2147483646 h 92"/>
                      <a:gd name="T68" fmla="*/ 2147483646 w 111"/>
                      <a:gd name="T69" fmla="*/ 2147483646 h 92"/>
                      <a:gd name="T70" fmla="*/ 2147483646 w 111"/>
                      <a:gd name="T71" fmla="*/ 2147483646 h 92"/>
                      <a:gd name="T72" fmla="*/ 0 w 111"/>
                      <a:gd name="T73" fmla="*/ 2147483646 h 92"/>
                      <a:gd name="T74" fmla="*/ 2147483646 w 111"/>
                      <a:gd name="T75" fmla="*/ 2147483646 h 92"/>
                      <a:gd name="T76" fmla="*/ 2147483646 w 111"/>
                      <a:gd name="T77" fmla="*/ 2147483646 h 92"/>
                      <a:gd name="T78" fmla="*/ 2147483646 w 111"/>
                      <a:gd name="T79" fmla="*/ 2147483646 h 92"/>
                      <a:gd name="T80" fmla="*/ 2147483646 w 111"/>
                      <a:gd name="T81" fmla="*/ 2147483646 h 92"/>
                      <a:gd name="T82" fmla="*/ 2147483646 w 111"/>
                      <a:gd name="T83" fmla="*/ 2147483646 h 92"/>
                      <a:gd name="T84" fmla="*/ 2147483646 w 111"/>
                      <a:gd name="T85" fmla="*/ 2147483646 h 92"/>
                      <a:gd name="T86" fmla="*/ 2147483646 w 111"/>
                      <a:gd name="T87" fmla="*/ 2147483646 h 92"/>
                      <a:gd name="T88" fmla="*/ 2147483646 w 111"/>
                      <a:gd name="T89" fmla="*/ 2147483646 h 92"/>
                      <a:gd name="T90" fmla="*/ 2147483646 w 111"/>
                      <a:gd name="T91" fmla="*/ 2147483646 h 92"/>
                      <a:gd name="T92" fmla="*/ 2147483646 w 111"/>
                      <a:gd name="T93" fmla="*/ 2147483646 h 92"/>
                      <a:gd name="T94" fmla="*/ 2147483646 w 111"/>
                      <a:gd name="T95" fmla="*/ 2147483646 h 92"/>
                      <a:gd name="T96" fmla="*/ 2147483646 w 111"/>
                      <a:gd name="T97" fmla="*/ 2147483646 h 92"/>
                      <a:gd name="T98" fmla="*/ 2147483646 w 111"/>
                      <a:gd name="T99" fmla="*/ 2147483646 h 92"/>
                      <a:gd name="T100" fmla="*/ 2147483646 w 111"/>
                      <a:gd name="T101" fmla="*/ 2147483646 h 92"/>
                      <a:gd name="T102" fmla="*/ 2147483646 w 111"/>
                      <a:gd name="T103" fmla="*/ 2147483646 h 92"/>
                      <a:gd name="T104" fmla="*/ 2147483646 w 111"/>
                      <a:gd name="T105" fmla="*/ 2147483646 h 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1"/>
                      <a:gd name="T160" fmla="*/ 0 h 92"/>
                      <a:gd name="T161" fmla="*/ 111 w 111"/>
                      <a:gd name="T162" fmla="*/ 92 h 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1" h="92">
                        <a:moveTo>
                          <a:pt x="94" y="0"/>
                        </a:moveTo>
                        <a:lnTo>
                          <a:pt x="96" y="10"/>
                        </a:lnTo>
                        <a:lnTo>
                          <a:pt x="96" y="13"/>
                        </a:lnTo>
                        <a:lnTo>
                          <a:pt x="94" y="15"/>
                        </a:lnTo>
                        <a:lnTo>
                          <a:pt x="94" y="21"/>
                        </a:lnTo>
                        <a:lnTo>
                          <a:pt x="93" y="22"/>
                        </a:lnTo>
                        <a:lnTo>
                          <a:pt x="93" y="24"/>
                        </a:lnTo>
                        <a:lnTo>
                          <a:pt x="97" y="24"/>
                        </a:lnTo>
                        <a:lnTo>
                          <a:pt x="99" y="25"/>
                        </a:lnTo>
                        <a:lnTo>
                          <a:pt x="99" y="28"/>
                        </a:lnTo>
                        <a:lnTo>
                          <a:pt x="100" y="29"/>
                        </a:lnTo>
                        <a:lnTo>
                          <a:pt x="100" y="32"/>
                        </a:lnTo>
                        <a:lnTo>
                          <a:pt x="99" y="35"/>
                        </a:lnTo>
                        <a:lnTo>
                          <a:pt x="99" y="41"/>
                        </a:lnTo>
                        <a:lnTo>
                          <a:pt x="102" y="43"/>
                        </a:lnTo>
                        <a:lnTo>
                          <a:pt x="103" y="46"/>
                        </a:lnTo>
                        <a:lnTo>
                          <a:pt x="105" y="47"/>
                        </a:lnTo>
                        <a:lnTo>
                          <a:pt x="106" y="47"/>
                        </a:lnTo>
                        <a:lnTo>
                          <a:pt x="106" y="46"/>
                        </a:lnTo>
                        <a:lnTo>
                          <a:pt x="108" y="44"/>
                        </a:lnTo>
                        <a:lnTo>
                          <a:pt x="109" y="44"/>
                        </a:lnTo>
                        <a:lnTo>
                          <a:pt x="111" y="46"/>
                        </a:lnTo>
                        <a:lnTo>
                          <a:pt x="111" y="58"/>
                        </a:lnTo>
                        <a:lnTo>
                          <a:pt x="109" y="60"/>
                        </a:lnTo>
                        <a:lnTo>
                          <a:pt x="108" y="62"/>
                        </a:lnTo>
                        <a:lnTo>
                          <a:pt x="106" y="65"/>
                        </a:lnTo>
                        <a:lnTo>
                          <a:pt x="106" y="68"/>
                        </a:lnTo>
                        <a:lnTo>
                          <a:pt x="108" y="69"/>
                        </a:lnTo>
                        <a:lnTo>
                          <a:pt x="108" y="71"/>
                        </a:lnTo>
                        <a:lnTo>
                          <a:pt x="97" y="68"/>
                        </a:lnTo>
                        <a:lnTo>
                          <a:pt x="97" y="66"/>
                        </a:lnTo>
                        <a:lnTo>
                          <a:pt x="96" y="65"/>
                        </a:lnTo>
                        <a:lnTo>
                          <a:pt x="94" y="62"/>
                        </a:lnTo>
                        <a:lnTo>
                          <a:pt x="91" y="59"/>
                        </a:lnTo>
                        <a:lnTo>
                          <a:pt x="88" y="58"/>
                        </a:lnTo>
                        <a:lnTo>
                          <a:pt x="85" y="58"/>
                        </a:lnTo>
                        <a:lnTo>
                          <a:pt x="74" y="63"/>
                        </a:lnTo>
                        <a:lnTo>
                          <a:pt x="71" y="63"/>
                        </a:lnTo>
                        <a:lnTo>
                          <a:pt x="69" y="65"/>
                        </a:lnTo>
                        <a:lnTo>
                          <a:pt x="66" y="66"/>
                        </a:lnTo>
                        <a:lnTo>
                          <a:pt x="63" y="69"/>
                        </a:lnTo>
                        <a:lnTo>
                          <a:pt x="57" y="71"/>
                        </a:lnTo>
                        <a:lnTo>
                          <a:pt x="53" y="72"/>
                        </a:lnTo>
                        <a:lnTo>
                          <a:pt x="50" y="75"/>
                        </a:lnTo>
                        <a:lnTo>
                          <a:pt x="50" y="89"/>
                        </a:lnTo>
                        <a:lnTo>
                          <a:pt x="49" y="90"/>
                        </a:lnTo>
                        <a:lnTo>
                          <a:pt x="47" y="90"/>
                        </a:lnTo>
                        <a:lnTo>
                          <a:pt x="44" y="92"/>
                        </a:lnTo>
                        <a:lnTo>
                          <a:pt x="43" y="92"/>
                        </a:lnTo>
                        <a:lnTo>
                          <a:pt x="35" y="75"/>
                        </a:lnTo>
                        <a:lnTo>
                          <a:pt x="35" y="74"/>
                        </a:lnTo>
                        <a:lnTo>
                          <a:pt x="34" y="72"/>
                        </a:lnTo>
                        <a:lnTo>
                          <a:pt x="34" y="66"/>
                        </a:lnTo>
                        <a:lnTo>
                          <a:pt x="32" y="65"/>
                        </a:lnTo>
                        <a:lnTo>
                          <a:pt x="31" y="62"/>
                        </a:lnTo>
                        <a:lnTo>
                          <a:pt x="29" y="62"/>
                        </a:lnTo>
                        <a:lnTo>
                          <a:pt x="28" y="60"/>
                        </a:lnTo>
                        <a:lnTo>
                          <a:pt x="20" y="60"/>
                        </a:lnTo>
                        <a:lnTo>
                          <a:pt x="19" y="62"/>
                        </a:lnTo>
                        <a:lnTo>
                          <a:pt x="16" y="63"/>
                        </a:lnTo>
                        <a:lnTo>
                          <a:pt x="14" y="65"/>
                        </a:lnTo>
                        <a:lnTo>
                          <a:pt x="12" y="66"/>
                        </a:lnTo>
                        <a:lnTo>
                          <a:pt x="9" y="69"/>
                        </a:lnTo>
                        <a:lnTo>
                          <a:pt x="6" y="59"/>
                        </a:lnTo>
                        <a:lnTo>
                          <a:pt x="7" y="59"/>
                        </a:lnTo>
                        <a:lnTo>
                          <a:pt x="9" y="58"/>
                        </a:lnTo>
                        <a:lnTo>
                          <a:pt x="10" y="58"/>
                        </a:lnTo>
                        <a:lnTo>
                          <a:pt x="13" y="56"/>
                        </a:lnTo>
                        <a:lnTo>
                          <a:pt x="13" y="53"/>
                        </a:lnTo>
                        <a:lnTo>
                          <a:pt x="10" y="52"/>
                        </a:lnTo>
                        <a:lnTo>
                          <a:pt x="7" y="49"/>
                        </a:lnTo>
                        <a:lnTo>
                          <a:pt x="4" y="47"/>
                        </a:lnTo>
                        <a:lnTo>
                          <a:pt x="3" y="46"/>
                        </a:lnTo>
                        <a:lnTo>
                          <a:pt x="0" y="44"/>
                        </a:lnTo>
                        <a:lnTo>
                          <a:pt x="13" y="37"/>
                        </a:lnTo>
                        <a:lnTo>
                          <a:pt x="20" y="34"/>
                        </a:lnTo>
                        <a:lnTo>
                          <a:pt x="20" y="32"/>
                        </a:lnTo>
                        <a:lnTo>
                          <a:pt x="22" y="31"/>
                        </a:lnTo>
                        <a:lnTo>
                          <a:pt x="26" y="22"/>
                        </a:lnTo>
                        <a:lnTo>
                          <a:pt x="28" y="21"/>
                        </a:lnTo>
                        <a:lnTo>
                          <a:pt x="31" y="19"/>
                        </a:lnTo>
                        <a:lnTo>
                          <a:pt x="32" y="18"/>
                        </a:lnTo>
                        <a:lnTo>
                          <a:pt x="32" y="12"/>
                        </a:lnTo>
                        <a:lnTo>
                          <a:pt x="34" y="10"/>
                        </a:lnTo>
                        <a:lnTo>
                          <a:pt x="35" y="10"/>
                        </a:lnTo>
                        <a:lnTo>
                          <a:pt x="38" y="9"/>
                        </a:lnTo>
                        <a:lnTo>
                          <a:pt x="43" y="9"/>
                        </a:lnTo>
                        <a:lnTo>
                          <a:pt x="47" y="7"/>
                        </a:lnTo>
                        <a:lnTo>
                          <a:pt x="50" y="6"/>
                        </a:lnTo>
                        <a:lnTo>
                          <a:pt x="54" y="6"/>
                        </a:lnTo>
                        <a:lnTo>
                          <a:pt x="56" y="4"/>
                        </a:lnTo>
                        <a:lnTo>
                          <a:pt x="57" y="4"/>
                        </a:lnTo>
                        <a:lnTo>
                          <a:pt x="59" y="7"/>
                        </a:lnTo>
                        <a:lnTo>
                          <a:pt x="60" y="9"/>
                        </a:lnTo>
                        <a:lnTo>
                          <a:pt x="60" y="13"/>
                        </a:lnTo>
                        <a:lnTo>
                          <a:pt x="63" y="16"/>
                        </a:lnTo>
                        <a:lnTo>
                          <a:pt x="66" y="16"/>
                        </a:lnTo>
                        <a:lnTo>
                          <a:pt x="69" y="15"/>
                        </a:lnTo>
                        <a:lnTo>
                          <a:pt x="71" y="13"/>
                        </a:lnTo>
                        <a:lnTo>
                          <a:pt x="74" y="12"/>
                        </a:lnTo>
                        <a:lnTo>
                          <a:pt x="75" y="9"/>
                        </a:lnTo>
                        <a:lnTo>
                          <a:pt x="80" y="7"/>
                        </a:lnTo>
                        <a:lnTo>
                          <a:pt x="83" y="7"/>
                        </a:lnTo>
                        <a:lnTo>
                          <a:pt x="85" y="6"/>
                        </a:lnTo>
                        <a:lnTo>
                          <a:pt x="87" y="4"/>
                        </a:lnTo>
                        <a:lnTo>
                          <a:pt x="93" y="1"/>
                        </a:lnTo>
                        <a:lnTo>
                          <a:pt x="94"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79" name="Freeform 258" descr="© INSCALE GmbH, 21.06.2010"/>
                  <p:cNvSpPr>
                    <a:spLocks noChangeAspect="1"/>
                  </p:cNvSpPr>
                  <p:nvPr/>
                </p:nvSpPr>
                <p:spPr bwMode="auto">
                  <a:xfrm>
                    <a:off x="3010041" y="3978922"/>
                    <a:ext cx="169235" cy="188656"/>
                  </a:xfrm>
                  <a:custGeom>
                    <a:avLst/>
                    <a:gdLst>
                      <a:gd name="T0" fmla="*/ 2147483646 w 177"/>
                      <a:gd name="T1" fmla="*/ 2147483646 h 198"/>
                      <a:gd name="T2" fmla="*/ 2147483646 w 177"/>
                      <a:gd name="T3" fmla="*/ 2147483646 h 198"/>
                      <a:gd name="T4" fmla="*/ 2147483646 w 177"/>
                      <a:gd name="T5" fmla="*/ 2147483646 h 198"/>
                      <a:gd name="T6" fmla="*/ 2147483646 w 177"/>
                      <a:gd name="T7" fmla="*/ 2147483646 h 198"/>
                      <a:gd name="T8" fmla="*/ 2147483646 w 177"/>
                      <a:gd name="T9" fmla="*/ 2147483646 h 198"/>
                      <a:gd name="T10" fmla="*/ 2147483646 w 177"/>
                      <a:gd name="T11" fmla="*/ 2147483646 h 198"/>
                      <a:gd name="T12" fmla="*/ 2147483646 w 177"/>
                      <a:gd name="T13" fmla="*/ 2147483646 h 198"/>
                      <a:gd name="T14" fmla="*/ 2147483646 w 177"/>
                      <a:gd name="T15" fmla="*/ 2147483646 h 198"/>
                      <a:gd name="T16" fmla="*/ 2147483646 w 177"/>
                      <a:gd name="T17" fmla="*/ 2147483646 h 198"/>
                      <a:gd name="T18" fmla="*/ 2147483646 w 177"/>
                      <a:gd name="T19" fmla="*/ 2147483646 h 198"/>
                      <a:gd name="T20" fmla="*/ 2147483646 w 177"/>
                      <a:gd name="T21" fmla="*/ 2147483646 h 198"/>
                      <a:gd name="T22" fmla="*/ 2147483646 w 177"/>
                      <a:gd name="T23" fmla="*/ 2147483646 h 198"/>
                      <a:gd name="T24" fmla="*/ 2147483646 w 177"/>
                      <a:gd name="T25" fmla="*/ 2147483646 h 198"/>
                      <a:gd name="T26" fmla="*/ 2147483646 w 177"/>
                      <a:gd name="T27" fmla="*/ 2147483646 h 198"/>
                      <a:gd name="T28" fmla="*/ 2147483646 w 177"/>
                      <a:gd name="T29" fmla="*/ 2147483646 h 198"/>
                      <a:gd name="T30" fmla="*/ 2147483646 w 177"/>
                      <a:gd name="T31" fmla="*/ 2147483646 h 198"/>
                      <a:gd name="T32" fmla="*/ 2147483646 w 177"/>
                      <a:gd name="T33" fmla="*/ 2147483646 h 198"/>
                      <a:gd name="T34" fmla="*/ 2147483646 w 177"/>
                      <a:gd name="T35" fmla="*/ 2147483646 h 198"/>
                      <a:gd name="T36" fmla="*/ 2147483646 w 177"/>
                      <a:gd name="T37" fmla="*/ 2147483646 h 198"/>
                      <a:gd name="T38" fmla="*/ 2147483646 w 177"/>
                      <a:gd name="T39" fmla="*/ 2147483646 h 198"/>
                      <a:gd name="T40" fmla="*/ 2147483646 w 177"/>
                      <a:gd name="T41" fmla="*/ 2147483646 h 198"/>
                      <a:gd name="T42" fmla="*/ 2147483646 w 177"/>
                      <a:gd name="T43" fmla="*/ 2147483646 h 198"/>
                      <a:gd name="T44" fmla="*/ 2147483646 w 177"/>
                      <a:gd name="T45" fmla="*/ 2147483646 h 198"/>
                      <a:gd name="T46" fmla="*/ 2147483646 w 177"/>
                      <a:gd name="T47" fmla="*/ 2147483646 h 198"/>
                      <a:gd name="T48" fmla="*/ 2147483646 w 177"/>
                      <a:gd name="T49" fmla="*/ 2147483646 h 198"/>
                      <a:gd name="T50" fmla="*/ 2147483646 w 177"/>
                      <a:gd name="T51" fmla="*/ 2147483646 h 198"/>
                      <a:gd name="T52" fmla="*/ 2147483646 w 177"/>
                      <a:gd name="T53" fmla="*/ 2147483646 h 198"/>
                      <a:gd name="T54" fmla="*/ 2147483646 w 177"/>
                      <a:gd name="T55" fmla="*/ 2147483646 h 198"/>
                      <a:gd name="T56" fmla="*/ 2147483646 w 177"/>
                      <a:gd name="T57" fmla="*/ 2147483646 h 198"/>
                      <a:gd name="T58" fmla="*/ 2147483646 w 177"/>
                      <a:gd name="T59" fmla="*/ 2147483646 h 198"/>
                      <a:gd name="T60" fmla="*/ 2147483646 w 177"/>
                      <a:gd name="T61" fmla="*/ 2147483646 h 198"/>
                      <a:gd name="T62" fmla="*/ 2147483646 w 177"/>
                      <a:gd name="T63" fmla="*/ 2147483646 h 198"/>
                      <a:gd name="T64" fmla="*/ 2147483646 w 177"/>
                      <a:gd name="T65" fmla="*/ 2147483646 h 198"/>
                      <a:gd name="T66" fmla="*/ 2147483646 w 177"/>
                      <a:gd name="T67" fmla="*/ 2147483646 h 198"/>
                      <a:gd name="T68" fmla="*/ 2147483646 w 177"/>
                      <a:gd name="T69" fmla="*/ 2147483646 h 198"/>
                      <a:gd name="T70" fmla="*/ 2147483646 w 177"/>
                      <a:gd name="T71" fmla="*/ 2147483646 h 198"/>
                      <a:gd name="T72" fmla="*/ 0 w 177"/>
                      <a:gd name="T73" fmla="*/ 2147483646 h 198"/>
                      <a:gd name="T74" fmla="*/ 2147483646 w 177"/>
                      <a:gd name="T75" fmla="*/ 2147483646 h 198"/>
                      <a:gd name="T76" fmla="*/ 2147483646 w 177"/>
                      <a:gd name="T77" fmla="*/ 2147483646 h 198"/>
                      <a:gd name="T78" fmla="*/ 2147483646 w 177"/>
                      <a:gd name="T79" fmla="*/ 2147483646 h 198"/>
                      <a:gd name="T80" fmla="*/ 2147483646 w 177"/>
                      <a:gd name="T81" fmla="*/ 2147483646 h 198"/>
                      <a:gd name="T82" fmla="*/ 2147483646 w 177"/>
                      <a:gd name="T83" fmla="*/ 2147483646 h 198"/>
                      <a:gd name="T84" fmla="*/ 2147483646 w 177"/>
                      <a:gd name="T85" fmla="*/ 2147483646 h 198"/>
                      <a:gd name="T86" fmla="*/ 2147483646 w 177"/>
                      <a:gd name="T87" fmla="*/ 2147483646 h 198"/>
                      <a:gd name="T88" fmla="*/ 2147483646 w 177"/>
                      <a:gd name="T89" fmla="*/ 2147483646 h 198"/>
                      <a:gd name="T90" fmla="*/ 2147483646 w 177"/>
                      <a:gd name="T91" fmla="*/ 2147483646 h 198"/>
                      <a:gd name="T92" fmla="*/ 2147483646 w 177"/>
                      <a:gd name="T93" fmla="*/ 2147483646 h 198"/>
                      <a:gd name="T94" fmla="*/ 2147483646 w 177"/>
                      <a:gd name="T95" fmla="*/ 2147483646 h 198"/>
                      <a:gd name="T96" fmla="*/ 2147483646 w 177"/>
                      <a:gd name="T97" fmla="*/ 2147483646 h 198"/>
                      <a:gd name="T98" fmla="*/ 2147483646 w 177"/>
                      <a:gd name="T99" fmla="*/ 2147483646 h 198"/>
                      <a:gd name="T100" fmla="*/ 2147483646 w 177"/>
                      <a:gd name="T101" fmla="*/ 2147483646 h 198"/>
                      <a:gd name="T102" fmla="*/ 2147483646 w 177"/>
                      <a:gd name="T103" fmla="*/ 2147483646 h 198"/>
                      <a:gd name="T104" fmla="*/ 2147483646 w 177"/>
                      <a:gd name="T105" fmla="*/ 2147483646 h 198"/>
                      <a:gd name="T106" fmla="*/ 2147483646 w 177"/>
                      <a:gd name="T107" fmla="*/ 2147483646 h 198"/>
                      <a:gd name="T108" fmla="*/ 2147483646 w 177"/>
                      <a:gd name="T109" fmla="*/ 2147483646 h 198"/>
                      <a:gd name="T110" fmla="*/ 2147483646 w 177"/>
                      <a:gd name="T111" fmla="*/ 2147483646 h 198"/>
                      <a:gd name="T112" fmla="*/ 2147483646 w 177"/>
                      <a:gd name="T113" fmla="*/ 0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7"/>
                      <a:gd name="T172" fmla="*/ 0 h 198"/>
                      <a:gd name="T173" fmla="*/ 177 w 177"/>
                      <a:gd name="T174" fmla="*/ 198 h 1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7" h="198">
                        <a:moveTo>
                          <a:pt x="111" y="0"/>
                        </a:moveTo>
                        <a:lnTo>
                          <a:pt x="117" y="0"/>
                        </a:lnTo>
                        <a:lnTo>
                          <a:pt x="118" y="2"/>
                        </a:lnTo>
                        <a:lnTo>
                          <a:pt x="121" y="7"/>
                        </a:lnTo>
                        <a:lnTo>
                          <a:pt x="123" y="12"/>
                        </a:lnTo>
                        <a:lnTo>
                          <a:pt x="120" y="21"/>
                        </a:lnTo>
                        <a:lnTo>
                          <a:pt x="115" y="28"/>
                        </a:lnTo>
                        <a:lnTo>
                          <a:pt x="109" y="36"/>
                        </a:lnTo>
                        <a:lnTo>
                          <a:pt x="108" y="39"/>
                        </a:lnTo>
                        <a:lnTo>
                          <a:pt x="111" y="44"/>
                        </a:lnTo>
                        <a:lnTo>
                          <a:pt x="114" y="46"/>
                        </a:lnTo>
                        <a:lnTo>
                          <a:pt x="115" y="47"/>
                        </a:lnTo>
                        <a:lnTo>
                          <a:pt x="118" y="49"/>
                        </a:lnTo>
                        <a:lnTo>
                          <a:pt x="117" y="50"/>
                        </a:lnTo>
                        <a:lnTo>
                          <a:pt x="115" y="53"/>
                        </a:lnTo>
                        <a:lnTo>
                          <a:pt x="111" y="58"/>
                        </a:lnTo>
                        <a:lnTo>
                          <a:pt x="109" y="61"/>
                        </a:lnTo>
                        <a:lnTo>
                          <a:pt x="106" y="62"/>
                        </a:lnTo>
                        <a:lnTo>
                          <a:pt x="105" y="62"/>
                        </a:lnTo>
                        <a:lnTo>
                          <a:pt x="102" y="65"/>
                        </a:lnTo>
                        <a:lnTo>
                          <a:pt x="102" y="67"/>
                        </a:lnTo>
                        <a:lnTo>
                          <a:pt x="104" y="68"/>
                        </a:lnTo>
                        <a:lnTo>
                          <a:pt x="115" y="68"/>
                        </a:lnTo>
                        <a:lnTo>
                          <a:pt x="115" y="71"/>
                        </a:lnTo>
                        <a:lnTo>
                          <a:pt x="117" y="74"/>
                        </a:lnTo>
                        <a:lnTo>
                          <a:pt x="117" y="78"/>
                        </a:lnTo>
                        <a:lnTo>
                          <a:pt x="118" y="81"/>
                        </a:lnTo>
                        <a:lnTo>
                          <a:pt x="118" y="92"/>
                        </a:lnTo>
                        <a:lnTo>
                          <a:pt x="120" y="95"/>
                        </a:lnTo>
                        <a:lnTo>
                          <a:pt x="123" y="96"/>
                        </a:lnTo>
                        <a:lnTo>
                          <a:pt x="129" y="96"/>
                        </a:lnTo>
                        <a:lnTo>
                          <a:pt x="130" y="95"/>
                        </a:lnTo>
                        <a:lnTo>
                          <a:pt x="133" y="95"/>
                        </a:lnTo>
                        <a:lnTo>
                          <a:pt x="136" y="93"/>
                        </a:lnTo>
                        <a:lnTo>
                          <a:pt x="139" y="93"/>
                        </a:lnTo>
                        <a:lnTo>
                          <a:pt x="140" y="95"/>
                        </a:lnTo>
                        <a:lnTo>
                          <a:pt x="142" y="98"/>
                        </a:lnTo>
                        <a:lnTo>
                          <a:pt x="142" y="118"/>
                        </a:lnTo>
                        <a:lnTo>
                          <a:pt x="145" y="121"/>
                        </a:lnTo>
                        <a:lnTo>
                          <a:pt x="146" y="121"/>
                        </a:lnTo>
                        <a:lnTo>
                          <a:pt x="148" y="120"/>
                        </a:lnTo>
                        <a:lnTo>
                          <a:pt x="149" y="120"/>
                        </a:lnTo>
                        <a:lnTo>
                          <a:pt x="152" y="118"/>
                        </a:lnTo>
                        <a:lnTo>
                          <a:pt x="154" y="117"/>
                        </a:lnTo>
                        <a:lnTo>
                          <a:pt x="157" y="115"/>
                        </a:lnTo>
                        <a:lnTo>
                          <a:pt x="158" y="112"/>
                        </a:lnTo>
                        <a:lnTo>
                          <a:pt x="160" y="111"/>
                        </a:lnTo>
                        <a:lnTo>
                          <a:pt x="163" y="109"/>
                        </a:lnTo>
                        <a:lnTo>
                          <a:pt x="164" y="109"/>
                        </a:lnTo>
                        <a:lnTo>
                          <a:pt x="166" y="111"/>
                        </a:lnTo>
                        <a:lnTo>
                          <a:pt x="167" y="114"/>
                        </a:lnTo>
                        <a:lnTo>
                          <a:pt x="166" y="115"/>
                        </a:lnTo>
                        <a:lnTo>
                          <a:pt x="163" y="121"/>
                        </a:lnTo>
                        <a:lnTo>
                          <a:pt x="163" y="126"/>
                        </a:lnTo>
                        <a:lnTo>
                          <a:pt x="164" y="129"/>
                        </a:lnTo>
                        <a:lnTo>
                          <a:pt x="172" y="136"/>
                        </a:lnTo>
                        <a:lnTo>
                          <a:pt x="173" y="139"/>
                        </a:lnTo>
                        <a:lnTo>
                          <a:pt x="176" y="142"/>
                        </a:lnTo>
                        <a:lnTo>
                          <a:pt x="177" y="145"/>
                        </a:lnTo>
                        <a:lnTo>
                          <a:pt x="177" y="148"/>
                        </a:lnTo>
                        <a:lnTo>
                          <a:pt x="173" y="152"/>
                        </a:lnTo>
                        <a:lnTo>
                          <a:pt x="170" y="154"/>
                        </a:lnTo>
                        <a:lnTo>
                          <a:pt x="169" y="155"/>
                        </a:lnTo>
                        <a:lnTo>
                          <a:pt x="166" y="157"/>
                        </a:lnTo>
                        <a:lnTo>
                          <a:pt x="164" y="157"/>
                        </a:lnTo>
                        <a:lnTo>
                          <a:pt x="163" y="158"/>
                        </a:lnTo>
                        <a:lnTo>
                          <a:pt x="160" y="158"/>
                        </a:lnTo>
                        <a:lnTo>
                          <a:pt x="154" y="161"/>
                        </a:lnTo>
                        <a:lnTo>
                          <a:pt x="152" y="163"/>
                        </a:lnTo>
                        <a:lnTo>
                          <a:pt x="152" y="167"/>
                        </a:lnTo>
                        <a:lnTo>
                          <a:pt x="154" y="169"/>
                        </a:lnTo>
                        <a:lnTo>
                          <a:pt x="154" y="172"/>
                        </a:lnTo>
                        <a:lnTo>
                          <a:pt x="152" y="173"/>
                        </a:lnTo>
                        <a:lnTo>
                          <a:pt x="151" y="176"/>
                        </a:lnTo>
                        <a:lnTo>
                          <a:pt x="149" y="178"/>
                        </a:lnTo>
                        <a:lnTo>
                          <a:pt x="146" y="178"/>
                        </a:lnTo>
                        <a:lnTo>
                          <a:pt x="138" y="166"/>
                        </a:lnTo>
                        <a:lnTo>
                          <a:pt x="132" y="170"/>
                        </a:lnTo>
                        <a:lnTo>
                          <a:pt x="124" y="170"/>
                        </a:lnTo>
                        <a:lnTo>
                          <a:pt x="129" y="183"/>
                        </a:lnTo>
                        <a:lnTo>
                          <a:pt x="126" y="183"/>
                        </a:lnTo>
                        <a:lnTo>
                          <a:pt x="123" y="185"/>
                        </a:lnTo>
                        <a:lnTo>
                          <a:pt x="118" y="186"/>
                        </a:lnTo>
                        <a:lnTo>
                          <a:pt x="115" y="188"/>
                        </a:lnTo>
                        <a:lnTo>
                          <a:pt x="112" y="191"/>
                        </a:lnTo>
                        <a:lnTo>
                          <a:pt x="111" y="194"/>
                        </a:lnTo>
                        <a:lnTo>
                          <a:pt x="109" y="195"/>
                        </a:lnTo>
                        <a:lnTo>
                          <a:pt x="108" y="198"/>
                        </a:lnTo>
                        <a:lnTo>
                          <a:pt x="105" y="198"/>
                        </a:lnTo>
                        <a:lnTo>
                          <a:pt x="96" y="195"/>
                        </a:lnTo>
                        <a:lnTo>
                          <a:pt x="90" y="194"/>
                        </a:lnTo>
                        <a:lnTo>
                          <a:pt x="58" y="194"/>
                        </a:lnTo>
                        <a:lnTo>
                          <a:pt x="55" y="192"/>
                        </a:lnTo>
                        <a:lnTo>
                          <a:pt x="50" y="188"/>
                        </a:lnTo>
                        <a:lnTo>
                          <a:pt x="47" y="186"/>
                        </a:lnTo>
                        <a:lnTo>
                          <a:pt x="44" y="183"/>
                        </a:lnTo>
                        <a:lnTo>
                          <a:pt x="44" y="178"/>
                        </a:lnTo>
                        <a:lnTo>
                          <a:pt x="46" y="176"/>
                        </a:lnTo>
                        <a:lnTo>
                          <a:pt x="46" y="175"/>
                        </a:lnTo>
                        <a:lnTo>
                          <a:pt x="34" y="170"/>
                        </a:lnTo>
                        <a:lnTo>
                          <a:pt x="16" y="180"/>
                        </a:lnTo>
                        <a:lnTo>
                          <a:pt x="15" y="178"/>
                        </a:lnTo>
                        <a:lnTo>
                          <a:pt x="15" y="176"/>
                        </a:lnTo>
                        <a:lnTo>
                          <a:pt x="13" y="173"/>
                        </a:lnTo>
                        <a:lnTo>
                          <a:pt x="13" y="170"/>
                        </a:lnTo>
                        <a:lnTo>
                          <a:pt x="9" y="166"/>
                        </a:lnTo>
                        <a:lnTo>
                          <a:pt x="7" y="166"/>
                        </a:lnTo>
                        <a:lnTo>
                          <a:pt x="7" y="154"/>
                        </a:lnTo>
                        <a:lnTo>
                          <a:pt x="6" y="151"/>
                        </a:lnTo>
                        <a:lnTo>
                          <a:pt x="4" y="149"/>
                        </a:lnTo>
                        <a:lnTo>
                          <a:pt x="0" y="142"/>
                        </a:lnTo>
                        <a:lnTo>
                          <a:pt x="0" y="133"/>
                        </a:lnTo>
                        <a:lnTo>
                          <a:pt x="12" y="138"/>
                        </a:lnTo>
                        <a:lnTo>
                          <a:pt x="19" y="135"/>
                        </a:lnTo>
                        <a:lnTo>
                          <a:pt x="15" y="117"/>
                        </a:lnTo>
                        <a:lnTo>
                          <a:pt x="16" y="117"/>
                        </a:lnTo>
                        <a:lnTo>
                          <a:pt x="18" y="115"/>
                        </a:lnTo>
                        <a:lnTo>
                          <a:pt x="22" y="115"/>
                        </a:lnTo>
                        <a:lnTo>
                          <a:pt x="25" y="114"/>
                        </a:lnTo>
                        <a:lnTo>
                          <a:pt x="30" y="114"/>
                        </a:lnTo>
                        <a:lnTo>
                          <a:pt x="32" y="117"/>
                        </a:lnTo>
                        <a:lnTo>
                          <a:pt x="32" y="118"/>
                        </a:lnTo>
                        <a:lnTo>
                          <a:pt x="35" y="117"/>
                        </a:lnTo>
                        <a:lnTo>
                          <a:pt x="37" y="115"/>
                        </a:lnTo>
                        <a:lnTo>
                          <a:pt x="38" y="115"/>
                        </a:lnTo>
                        <a:lnTo>
                          <a:pt x="41" y="114"/>
                        </a:lnTo>
                        <a:lnTo>
                          <a:pt x="41" y="111"/>
                        </a:lnTo>
                        <a:lnTo>
                          <a:pt x="37" y="107"/>
                        </a:lnTo>
                        <a:lnTo>
                          <a:pt x="37" y="101"/>
                        </a:lnTo>
                        <a:lnTo>
                          <a:pt x="38" y="99"/>
                        </a:lnTo>
                        <a:lnTo>
                          <a:pt x="38" y="98"/>
                        </a:lnTo>
                        <a:lnTo>
                          <a:pt x="37" y="96"/>
                        </a:lnTo>
                        <a:lnTo>
                          <a:pt x="37" y="95"/>
                        </a:lnTo>
                        <a:lnTo>
                          <a:pt x="35" y="92"/>
                        </a:lnTo>
                        <a:lnTo>
                          <a:pt x="34" y="90"/>
                        </a:lnTo>
                        <a:lnTo>
                          <a:pt x="25" y="99"/>
                        </a:lnTo>
                        <a:lnTo>
                          <a:pt x="21" y="95"/>
                        </a:lnTo>
                        <a:lnTo>
                          <a:pt x="25" y="87"/>
                        </a:lnTo>
                        <a:lnTo>
                          <a:pt x="25" y="62"/>
                        </a:lnTo>
                        <a:lnTo>
                          <a:pt x="28" y="64"/>
                        </a:lnTo>
                        <a:lnTo>
                          <a:pt x="30" y="64"/>
                        </a:lnTo>
                        <a:lnTo>
                          <a:pt x="32" y="65"/>
                        </a:lnTo>
                        <a:lnTo>
                          <a:pt x="35" y="65"/>
                        </a:lnTo>
                        <a:lnTo>
                          <a:pt x="38" y="62"/>
                        </a:lnTo>
                        <a:lnTo>
                          <a:pt x="41" y="64"/>
                        </a:lnTo>
                        <a:lnTo>
                          <a:pt x="44" y="64"/>
                        </a:lnTo>
                        <a:lnTo>
                          <a:pt x="46" y="61"/>
                        </a:lnTo>
                        <a:lnTo>
                          <a:pt x="53" y="61"/>
                        </a:lnTo>
                        <a:lnTo>
                          <a:pt x="55" y="59"/>
                        </a:lnTo>
                        <a:lnTo>
                          <a:pt x="56" y="56"/>
                        </a:lnTo>
                        <a:lnTo>
                          <a:pt x="58" y="55"/>
                        </a:lnTo>
                        <a:lnTo>
                          <a:pt x="61" y="55"/>
                        </a:lnTo>
                        <a:lnTo>
                          <a:pt x="64" y="53"/>
                        </a:lnTo>
                        <a:lnTo>
                          <a:pt x="68" y="52"/>
                        </a:lnTo>
                        <a:lnTo>
                          <a:pt x="71" y="52"/>
                        </a:lnTo>
                        <a:lnTo>
                          <a:pt x="74" y="50"/>
                        </a:lnTo>
                        <a:lnTo>
                          <a:pt x="77" y="50"/>
                        </a:lnTo>
                        <a:lnTo>
                          <a:pt x="72" y="43"/>
                        </a:lnTo>
                        <a:lnTo>
                          <a:pt x="69" y="43"/>
                        </a:lnTo>
                        <a:lnTo>
                          <a:pt x="68" y="41"/>
                        </a:lnTo>
                        <a:lnTo>
                          <a:pt x="65" y="36"/>
                        </a:lnTo>
                        <a:lnTo>
                          <a:pt x="65" y="25"/>
                        </a:lnTo>
                        <a:lnTo>
                          <a:pt x="78" y="27"/>
                        </a:lnTo>
                        <a:lnTo>
                          <a:pt x="80" y="15"/>
                        </a:lnTo>
                        <a:lnTo>
                          <a:pt x="87" y="15"/>
                        </a:lnTo>
                        <a:lnTo>
                          <a:pt x="90" y="13"/>
                        </a:lnTo>
                        <a:lnTo>
                          <a:pt x="92" y="12"/>
                        </a:lnTo>
                        <a:lnTo>
                          <a:pt x="101" y="7"/>
                        </a:lnTo>
                        <a:lnTo>
                          <a:pt x="105" y="7"/>
                        </a:lnTo>
                        <a:lnTo>
                          <a:pt x="106" y="9"/>
                        </a:lnTo>
                        <a:lnTo>
                          <a:pt x="111"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0" name="Freeform 259" descr="© INSCALE GmbH, 21.06.2010"/>
                  <p:cNvSpPr>
                    <a:spLocks noChangeAspect="1"/>
                  </p:cNvSpPr>
                  <p:nvPr/>
                </p:nvSpPr>
                <p:spPr bwMode="auto">
                  <a:xfrm>
                    <a:off x="3361503" y="3932113"/>
                    <a:ext cx="91816" cy="101776"/>
                  </a:xfrm>
                  <a:custGeom>
                    <a:avLst/>
                    <a:gdLst>
                      <a:gd name="T0" fmla="*/ 2147483646 w 89"/>
                      <a:gd name="T1" fmla="*/ 2147483646 h 99"/>
                      <a:gd name="T2" fmla="*/ 2147483646 w 89"/>
                      <a:gd name="T3" fmla="*/ 2147483646 h 99"/>
                      <a:gd name="T4" fmla="*/ 2147483646 w 89"/>
                      <a:gd name="T5" fmla="*/ 2147483646 h 99"/>
                      <a:gd name="T6" fmla="*/ 2147483646 w 89"/>
                      <a:gd name="T7" fmla="*/ 2147483646 h 99"/>
                      <a:gd name="T8" fmla="*/ 2147483646 w 89"/>
                      <a:gd name="T9" fmla="*/ 2147483646 h 99"/>
                      <a:gd name="T10" fmla="*/ 2147483646 w 89"/>
                      <a:gd name="T11" fmla="*/ 2147483646 h 99"/>
                      <a:gd name="T12" fmla="*/ 2147483646 w 89"/>
                      <a:gd name="T13" fmla="*/ 2147483646 h 99"/>
                      <a:gd name="T14" fmla="*/ 2147483646 w 89"/>
                      <a:gd name="T15" fmla="*/ 2147483646 h 99"/>
                      <a:gd name="T16" fmla="*/ 2147483646 w 89"/>
                      <a:gd name="T17" fmla="*/ 2147483646 h 99"/>
                      <a:gd name="T18" fmla="*/ 2147483646 w 89"/>
                      <a:gd name="T19" fmla="*/ 2147483646 h 99"/>
                      <a:gd name="T20" fmla="*/ 2147483646 w 89"/>
                      <a:gd name="T21" fmla="*/ 2147483646 h 99"/>
                      <a:gd name="T22" fmla="*/ 2147483646 w 89"/>
                      <a:gd name="T23" fmla="*/ 2147483646 h 99"/>
                      <a:gd name="T24" fmla="*/ 2147483646 w 89"/>
                      <a:gd name="T25" fmla="*/ 2147483646 h 99"/>
                      <a:gd name="T26" fmla="*/ 2147483646 w 89"/>
                      <a:gd name="T27" fmla="*/ 2147483646 h 99"/>
                      <a:gd name="T28" fmla="*/ 2147483646 w 89"/>
                      <a:gd name="T29" fmla="*/ 2147483646 h 99"/>
                      <a:gd name="T30" fmla="*/ 2147483646 w 89"/>
                      <a:gd name="T31" fmla="*/ 2147483646 h 99"/>
                      <a:gd name="T32" fmla="*/ 2147483646 w 89"/>
                      <a:gd name="T33" fmla="*/ 2147483646 h 99"/>
                      <a:gd name="T34" fmla="*/ 2147483646 w 89"/>
                      <a:gd name="T35" fmla="*/ 2147483646 h 99"/>
                      <a:gd name="T36" fmla="*/ 2147483646 w 89"/>
                      <a:gd name="T37" fmla="*/ 2147483646 h 99"/>
                      <a:gd name="T38" fmla="*/ 2147483646 w 89"/>
                      <a:gd name="T39" fmla="*/ 2147483646 h 99"/>
                      <a:gd name="T40" fmla="*/ 2147483646 w 89"/>
                      <a:gd name="T41" fmla="*/ 2147483646 h 99"/>
                      <a:gd name="T42" fmla="*/ 2147483646 w 89"/>
                      <a:gd name="T43" fmla="*/ 2147483646 h 99"/>
                      <a:gd name="T44" fmla="*/ 2147483646 w 89"/>
                      <a:gd name="T45" fmla="*/ 2147483646 h 99"/>
                      <a:gd name="T46" fmla="*/ 2147483646 w 89"/>
                      <a:gd name="T47" fmla="*/ 2147483646 h 99"/>
                      <a:gd name="T48" fmla="*/ 2147483646 w 89"/>
                      <a:gd name="T49" fmla="*/ 2147483646 h 99"/>
                      <a:gd name="T50" fmla="*/ 2147483646 w 89"/>
                      <a:gd name="T51" fmla="*/ 2147483646 h 99"/>
                      <a:gd name="T52" fmla="*/ 2147483646 w 89"/>
                      <a:gd name="T53" fmla="*/ 2147483646 h 99"/>
                      <a:gd name="T54" fmla="*/ 2147483646 w 89"/>
                      <a:gd name="T55" fmla="*/ 2147483646 h 99"/>
                      <a:gd name="T56" fmla="*/ 2147483646 w 89"/>
                      <a:gd name="T57" fmla="*/ 2147483646 h 99"/>
                      <a:gd name="T58" fmla="*/ 2147483646 w 89"/>
                      <a:gd name="T59" fmla="*/ 2147483646 h 99"/>
                      <a:gd name="T60" fmla="*/ 2147483646 w 89"/>
                      <a:gd name="T61" fmla="*/ 2147483646 h 99"/>
                      <a:gd name="T62" fmla="*/ 0 w 89"/>
                      <a:gd name="T63" fmla="*/ 2147483646 h 99"/>
                      <a:gd name="T64" fmla="*/ 2147483646 w 89"/>
                      <a:gd name="T65" fmla="*/ 2147483646 h 99"/>
                      <a:gd name="T66" fmla="*/ 2147483646 w 89"/>
                      <a:gd name="T67" fmla="*/ 2147483646 h 99"/>
                      <a:gd name="T68" fmla="*/ 2147483646 w 89"/>
                      <a:gd name="T69" fmla="*/ 2147483646 h 99"/>
                      <a:gd name="T70" fmla="*/ 2147483646 w 89"/>
                      <a:gd name="T71" fmla="*/ 2147483646 h 99"/>
                      <a:gd name="T72" fmla="*/ 2147483646 w 89"/>
                      <a:gd name="T73" fmla="*/ 2147483646 h 99"/>
                      <a:gd name="T74" fmla="*/ 2147483646 w 89"/>
                      <a:gd name="T75" fmla="*/ 2147483646 h 99"/>
                      <a:gd name="T76" fmla="*/ 2147483646 w 89"/>
                      <a:gd name="T77" fmla="*/ 2147483646 h 99"/>
                      <a:gd name="T78" fmla="*/ 2147483646 w 89"/>
                      <a:gd name="T79" fmla="*/ 2147483646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9"/>
                      <a:gd name="T121" fmla="*/ 0 h 99"/>
                      <a:gd name="T122" fmla="*/ 89 w 89"/>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9" h="99">
                        <a:moveTo>
                          <a:pt x="55" y="0"/>
                        </a:moveTo>
                        <a:lnTo>
                          <a:pt x="64" y="9"/>
                        </a:lnTo>
                        <a:lnTo>
                          <a:pt x="64" y="15"/>
                        </a:lnTo>
                        <a:lnTo>
                          <a:pt x="65" y="16"/>
                        </a:lnTo>
                        <a:lnTo>
                          <a:pt x="68" y="16"/>
                        </a:lnTo>
                        <a:lnTo>
                          <a:pt x="71" y="18"/>
                        </a:lnTo>
                        <a:lnTo>
                          <a:pt x="79" y="18"/>
                        </a:lnTo>
                        <a:lnTo>
                          <a:pt x="85" y="21"/>
                        </a:lnTo>
                        <a:lnTo>
                          <a:pt x="85" y="45"/>
                        </a:lnTo>
                        <a:lnTo>
                          <a:pt x="86" y="46"/>
                        </a:lnTo>
                        <a:lnTo>
                          <a:pt x="89" y="48"/>
                        </a:lnTo>
                        <a:lnTo>
                          <a:pt x="89" y="49"/>
                        </a:lnTo>
                        <a:lnTo>
                          <a:pt x="88" y="51"/>
                        </a:lnTo>
                        <a:lnTo>
                          <a:pt x="85" y="52"/>
                        </a:lnTo>
                        <a:lnTo>
                          <a:pt x="83" y="55"/>
                        </a:lnTo>
                        <a:lnTo>
                          <a:pt x="82" y="56"/>
                        </a:lnTo>
                        <a:lnTo>
                          <a:pt x="80" y="59"/>
                        </a:lnTo>
                        <a:lnTo>
                          <a:pt x="80" y="67"/>
                        </a:lnTo>
                        <a:lnTo>
                          <a:pt x="82" y="70"/>
                        </a:lnTo>
                        <a:lnTo>
                          <a:pt x="82" y="74"/>
                        </a:lnTo>
                        <a:lnTo>
                          <a:pt x="80" y="79"/>
                        </a:lnTo>
                        <a:lnTo>
                          <a:pt x="79" y="82"/>
                        </a:lnTo>
                        <a:lnTo>
                          <a:pt x="73" y="87"/>
                        </a:lnTo>
                        <a:lnTo>
                          <a:pt x="71" y="92"/>
                        </a:lnTo>
                        <a:lnTo>
                          <a:pt x="70" y="95"/>
                        </a:lnTo>
                        <a:lnTo>
                          <a:pt x="67" y="98"/>
                        </a:lnTo>
                        <a:lnTo>
                          <a:pt x="64" y="98"/>
                        </a:lnTo>
                        <a:lnTo>
                          <a:pt x="61" y="99"/>
                        </a:lnTo>
                        <a:lnTo>
                          <a:pt x="53" y="99"/>
                        </a:lnTo>
                        <a:lnTo>
                          <a:pt x="53" y="93"/>
                        </a:lnTo>
                        <a:lnTo>
                          <a:pt x="42" y="93"/>
                        </a:lnTo>
                        <a:lnTo>
                          <a:pt x="42" y="85"/>
                        </a:lnTo>
                        <a:lnTo>
                          <a:pt x="43" y="83"/>
                        </a:lnTo>
                        <a:lnTo>
                          <a:pt x="45" y="80"/>
                        </a:lnTo>
                        <a:lnTo>
                          <a:pt x="48" y="79"/>
                        </a:lnTo>
                        <a:lnTo>
                          <a:pt x="49" y="76"/>
                        </a:lnTo>
                        <a:lnTo>
                          <a:pt x="49" y="68"/>
                        </a:lnTo>
                        <a:lnTo>
                          <a:pt x="48" y="68"/>
                        </a:lnTo>
                        <a:lnTo>
                          <a:pt x="46" y="67"/>
                        </a:lnTo>
                        <a:lnTo>
                          <a:pt x="42" y="67"/>
                        </a:lnTo>
                        <a:lnTo>
                          <a:pt x="39" y="65"/>
                        </a:lnTo>
                        <a:lnTo>
                          <a:pt x="36" y="65"/>
                        </a:lnTo>
                        <a:lnTo>
                          <a:pt x="27" y="68"/>
                        </a:lnTo>
                        <a:lnTo>
                          <a:pt x="24" y="71"/>
                        </a:lnTo>
                        <a:lnTo>
                          <a:pt x="24" y="73"/>
                        </a:lnTo>
                        <a:lnTo>
                          <a:pt x="21" y="76"/>
                        </a:lnTo>
                        <a:lnTo>
                          <a:pt x="22" y="77"/>
                        </a:lnTo>
                        <a:lnTo>
                          <a:pt x="24" y="77"/>
                        </a:lnTo>
                        <a:lnTo>
                          <a:pt x="24" y="83"/>
                        </a:lnTo>
                        <a:lnTo>
                          <a:pt x="21" y="83"/>
                        </a:lnTo>
                        <a:lnTo>
                          <a:pt x="15" y="80"/>
                        </a:lnTo>
                        <a:lnTo>
                          <a:pt x="14" y="79"/>
                        </a:lnTo>
                        <a:lnTo>
                          <a:pt x="11" y="77"/>
                        </a:lnTo>
                        <a:lnTo>
                          <a:pt x="11" y="74"/>
                        </a:lnTo>
                        <a:lnTo>
                          <a:pt x="12" y="71"/>
                        </a:lnTo>
                        <a:lnTo>
                          <a:pt x="15" y="68"/>
                        </a:lnTo>
                        <a:lnTo>
                          <a:pt x="18" y="62"/>
                        </a:lnTo>
                        <a:lnTo>
                          <a:pt x="18" y="58"/>
                        </a:lnTo>
                        <a:lnTo>
                          <a:pt x="11" y="58"/>
                        </a:lnTo>
                        <a:lnTo>
                          <a:pt x="8" y="56"/>
                        </a:lnTo>
                        <a:lnTo>
                          <a:pt x="6" y="53"/>
                        </a:lnTo>
                        <a:lnTo>
                          <a:pt x="3" y="51"/>
                        </a:lnTo>
                        <a:lnTo>
                          <a:pt x="2" y="48"/>
                        </a:lnTo>
                        <a:lnTo>
                          <a:pt x="0" y="46"/>
                        </a:lnTo>
                        <a:lnTo>
                          <a:pt x="8" y="42"/>
                        </a:lnTo>
                        <a:lnTo>
                          <a:pt x="8" y="39"/>
                        </a:lnTo>
                        <a:lnTo>
                          <a:pt x="9" y="36"/>
                        </a:lnTo>
                        <a:lnTo>
                          <a:pt x="9" y="30"/>
                        </a:lnTo>
                        <a:lnTo>
                          <a:pt x="11" y="27"/>
                        </a:lnTo>
                        <a:lnTo>
                          <a:pt x="14" y="25"/>
                        </a:lnTo>
                        <a:lnTo>
                          <a:pt x="14" y="14"/>
                        </a:lnTo>
                        <a:lnTo>
                          <a:pt x="15" y="14"/>
                        </a:lnTo>
                        <a:lnTo>
                          <a:pt x="18" y="15"/>
                        </a:lnTo>
                        <a:lnTo>
                          <a:pt x="21" y="18"/>
                        </a:lnTo>
                        <a:lnTo>
                          <a:pt x="27" y="18"/>
                        </a:lnTo>
                        <a:lnTo>
                          <a:pt x="30" y="16"/>
                        </a:lnTo>
                        <a:lnTo>
                          <a:pt x="30" y="12"/>
                        </a:lnTo>
                        <a:lnTo>
                          <a:pt x="31" y="11"/>
                        </a:lnTo>
                        <a:lnTo>
                          <a:pt x="33" y="8"/>
                        </a:lnTo>
                        <a:lnTo>
                          <a:pt x="37" y="3"/>
                        </a:lnTo>
                        <a:lnTo>
                          <a:pt x="55"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1" name="Freeform 260" descr="© INSCALE GmbH, 21.06.2010"/>
                  <p:cNvSpPr>
                    <a:spLocks noChangeAspect="1"/>
                  </p:cNvSpPr>
                  <p:nvPr/>
                </p:nvSpPr>
                <p:spPr bwMode="auto">
                  <a:xfrm>
                    <a:off x="3387353" y="3748651"/>
                    <a:ext cx="160912" cy="205302"/>
                  </a:xfrm>
                  <a:custGeom>
                    <a:avLst/>
                    <a:gdLst>
                      <a:gd name="T0" fmla="*/ 2147483646 w 169"/>
                      <a:gd name="T1" fmla="*/ 2147483646 h 214"/>
                      <a:gd name="T2" fmla="*/ 2147483646 w 169"/>
                      <a:gd name="T3" fmla="*/ 2147483646 h 214"/>
                      <a:gd name="T4" fmla="*/ 2147483646 w 169"/>
                      <a:gd name="T5" fmla="*/ 2147483646 h 214"/>
                      <a:gd name="T6" fmla="*/ 2147483646 w 169"/>
                      <a:gd name="T7" fmla="*/ 2147483646 h 214"/>
                      <a:gd name="T8" fmla="*/ 2147483646 w 169"/>
                      <a:gd name="T9" fmla="*/ 2147483646 h 214"/>
                      <a:gd name="T10" fmla="*/ 2147483646 w 169"/>
                      <a:gd name="T11" fmla="*/ 2147483646 h 214"/>
                      <a:gd name="T12" fmla="*/ 2147483646 w 169"/>
                      <a:gd name="T13" fmla="*/ 2147483646 h 214"/>
                      <a:gd name="T14" fmla="*/ 2147483646 w 169"/>
                      <a:gd name="T15" fmla="*/ 2147483646 h 214"/>
                      <a:gd name="T16" fmla="*/ 2147483646 w 169"/>
                      <a:gd name="T17" fmla="*/ 2147483646 h 214"/>
                      <a:gd name="T18" fmla="*/ 2147483646 w 169"/>
                      <a:gd name="T19" fmla="*/ 2147483646 h 214"/>
                      <a:gd name="T20" fmla="*/ 2147483646 w 169"/>
                      <a:gd name="T21" fmla="*/ 2147483646 h 214"/>
                      <a:gd name="T22" fmla="*/ 2147483646 w 169"/>
                      <a:gd name="T23" fmla="*/ 2147483646 h 214"/>
                      <a:gd name="T24" fmla="*/ 2147483646 w 169"/>
                      <a:gd name="T25" fmla="*/ 2147483646 h 214"/>
                      <a:gd name="T26" fmla="*/ 2147483646 w 169"/>
                      <a:gd name="T27" fmla="*/ 2147483646 h 214"/>
                      <a:gd name="T28" fmla="*/ 2147483646 w 169"/>
                      <a:gd name="T29" fmla="*/ 2147483646 h 214"/>
                      <a:gd name="T30" fmla="*/ 2147483646 w 169"/>
                      <a:gd name="T31" fmla="*/ 2147483646 h 214"/>
                      <a:gd name="T32" fmla="*/ 2147483646 w 169"/>
                      <a:gd name="T33" fmla="*/ 2147483646 h 214"/>
                      <a:gd name="T34" fmla="*/ 2147483646 w 169"/>
                      <a:gd name="T35" fmla="*/ 2147483646 h 214"/>
                      <a:gd name="T36" fmla="*/ 2147483646 w 169"/>
                      <a:gd name="T37" fmla="*/ 2147483646 h 214"/>
                      <a:gd name="T38" fmla="*/ 2147483646 w 169"/>
                      <a:gd name="T39" fmla="*/ 2147483646 h 214"/>
                      <a:gd name="T40" fmla="*/ 2147483646 w 169"/>
                      <a:gd name="T41" fmla="*/ 2147483646 h 214"/>
                      <a:gd name="T42" fmla="*/ 2147483646 w 169"/>
                      <a:gd name="T43" fmla="*/ 2147483646 h 214"/>
                      <a:gd name="T44" fmla="*/ 2147483646 w 169"/>
                      <a:gd name="T45" fmla="*/ 2147483646 h 214"/>
                      <a:gd name="T46" fmla="*/ 2147483646 w 169"/>
                      <a:gd name="T47" fmla="*/ 2147483646 h 214"/>
                      <a:gd name="T48" fmla="*/ 2147483646 w 169"/>
                      <a:gd name="T49" fmla="*/ 2147483646 h 214"/>
                      <a:gd name="T50" fmla="*/ 2147483646 w 169"/>
                      <a:gd name="T51" fmla="*/ 2147483646 h 214"/>
                      <a:gd name="T52" fmla="*/ 2147483646 w 169"/>
                      <a:gd name="T53" fmla="*/ 2147483646 h 214"/>
                      <a:gd name="T54" fmla="*/ 2147483646 w 169"/>
                      <a:gd name="T55" fmla="*/ 2147483646 h 214"/>
                      <a:gd name="T56" fmla="*/ 2147483646 w 169"/>
                      <a:gd name="T57" fmla="*/ 2147483646 h 214"/>
                      <a:gd name="T58" fmla="*/ 2147483646 w 169"/>
                      <a:gd name="T59" fmla="*/ 2147483646 h 214"/>
                      <a:gd name="T60" fmla="*/ 2147483646 w 169"/>
                      <a:gd name="T61" fmla="*/ 2147483646 h 214"/>
                      <a:gd name="T62" fmla="*/ 2147483646 w 169"/>
                      <a:gd name="T63" fmla="*/ 2147483646 h 214"/>
                      <a:gd name="T64" fmla="*/ 2147483646 w 169"/>
                      <a:gd name="T65" fmla="*/ 2147483646 h 214"/>
                      <a:gd name="T66" fmla="*/ 2147483646 w 169"/>
                      <a:gd name="T67" fmla="*/ 2147483646 h 214"/>
                      <a:gd name="T68" fmla="*/ 2147483646 w 169"/>
                      <a:gd name="T69" fmla="*/ 2147483646 h 214"/>
                      <a:gd name="T70" fmla="*/ 2147483646 w 169"/>
                      <a:gd name="T71" fmla="*/ 2147483646 h 214"/>
                      <a:gd name="T72" fmla="*/ 2147483646 w 169"/>
                      <a:gd name="T73" fmla="*/ 2147483646 h 214"/>
                      <a:gd name="T74" fmla="*/ 2147483646 w 169"/>
                      <a:gd name="T75" fmla="*/ 2147483646 h 214"/>
                      <a:gd name="T76" fmla="*/ 2147483646 w 169"/>
                      <a:gd name="T77" fmla="*/ 2147483646 h 214"/>
                      <a:gd name="T78" fmla="*/ 2147483646 w 169"/>
                      <a:gd name="T79" fmla="*/ 2147483646 h 214"/>
                      <a:gd name="T80" fmla="*/ 2147483646 w 169"/>
                      <a:gd name="T81" fmla="*/ 2147483646 h 214"/>
                      <a:gd name="T82" fmla="*/ 2147483646 w 169"/>
                      <a:gd name="T83" fmla="*/ 2147483646 h 214"/>
                      <a:gd name="T84" fmla="*/ 2147483646 w 169"/>
                      <a:gd name="T85" fmla="*/ 2147483646 h 214"/>
                      <a:gd name="T86" fmla="*/ 2147483646 w 169"/>
                      <a:gd name="T87" fmla="*/ 2147483646 h 214"/>
                      <a:gd name="T88" fmla="*/ 2147483646 w 169"/>
                      <a:gd name="T89" fmla="*/ 2147483646 h 214"/>
                      <a:gd name="T90" fmla="*/ 2147483646 w 169"/>
                      <a:gd name="T91" fmla="*/ 2147483646 h 214"/>
                      <a:gd name="T92" fmla="*/ 2147483646 w 169"/>
                      <a:gd name="T93" fmla="*/ 2147483646 h 214"/>
                      <a:gd name="T94" fmla="*/ 2147483646 w 169"/>
                      <a:gd name="T95" fmla="*/ 2147483646 h 214"/>
                      <a:gd name="T96" fmla="*/ 2147483646 w 169"/>
                      <a:gd name="T97" fmla="*/ 2147483646 h 214"/>
                      <a:gd name="T98" fmla="*/ 2147483646 w 169"/>
                      <a:gd name="T99" fmla="*/ 2147483646 h 214"/>
                      <a:gd name="T100" fmla="*/ 2147483646 w 169"/>
                      <a:gd name="T101" fmla="*/ 2147483646 h 214"/>
                      <a:gd name="T102" fmla="*/ 2147483646 w 169"/>
                      <a:gd name="T103" fmla="*/ 2147483646 h 214"/>
                      <a:gd name="T104" fmla="*/ 2147483646 w 169"/>
                      <a:gd name="T105" fmla="*/ 2147483646 h 214"/>
                      <a:gd name="T106" fmla="*/ 2147483646 w 169"/>
                      <a:gd name="T107" fmla="*/ 2147483646 h 214"/>
                      <a:gd name="T108" fmla="*/ 2147483646 w 169"/>
                      <a:gd name="T109" fmla="*/ 2147483646 h 214"/>
                      <a:gd name="T110" fmla="*/ 2147483646 w 169"/>
                      <a:gd name="T111" fmla="*/ 2147483646 h 214"/>
                      <a:gd name="T112" fmla="*/ 2147483646 w 169"/>
                      <a:gd name="T113" fmla="*/ 2147483646 h 214"/>
                      <a:gd name="T114" fmla="*/ 2147483646 w 169"/>
                      <a:gd name="T115" fmla="*/ 2147483646 h 2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9"/>
                      <a:gd name="T175" fmla="*/ 0 h 214"/>
                      <a:gd name="T176" fmla="*/ 169 w 169"/>
                      <a:gd name="T177" fmla="*/ 214 h 21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9" h="214">
                        <a:moveTo>
                          <a:pt x="22" y="0"/>
                        </a:moveTo>
                        <a:lnTo>
                          <a:pt x="25" y="0"/>
                        </a:lnTo>
                        <a:lnTo>
                          <a:pt x="30" y="4"/>
                        </a:lnTo>
                        <a:lnTo>
                          <a:pt x="30" y="10"/>
                        </a:lnTo>
                        <a:lnTo>
                          <a:pt x="41" y="8"/>
                        </a:lnTo>
                        <a:lnTo>
                          <a:pt x="43" y="16"/>
                        </a:lnTo>
                        <a:lnTo>
                          <a:pt x="47" y="17"/>
                        </a:lnTo>
                        <a:lnTo>
                          <a:pt x="47" y="19"/>
                        </a:lnTo>
                        <a:lnTo>
                          <a:pt x="49" y="22"/>
                        </a:lnTo>
                        <a:lnTo>
                          <a:pt x="49" y="26"/>
                        </a:lnTo>
                        <a:lnTo>
                          <a:pt x="52" y="29"/>
                        </a:lnTo>
                        <a:lnTo>
                          <a:pt x="53" y="29"/>
                        </a:lnTo>
                        <a:lnTo>
                          <a:pt x="59" y="26"/>
                        </a:lnTo>
                        <a:lnTo>
                          <a:pt x="68" y="23"/>
                        </a:lnTo>
                        <a:lnTo>
                          <a:pt x="75" y="19"/>
                        </a:lnTo>
                        <a:lnTo>
                          <a:pt x="78" y="17"/>
                        </a:lnTo>
                        <a:lnTo>
                          <a:pt x="80" y="16"/>
                        </a:lnTo>
                        <a:lnTo>
                          <a:pt x="80" y="14"/>
                        </a:lnTo>
                        <a:lnTo>
                          <a:pt x="87" y="14"/>
                        </a:lnTo>
                        <a:lnTo>
                          <a:pt x="90" y="16"/>
                        </a:lnTo>
                        <a:lnTo>
                          <a:pt x="92" y="17"/>
                        </a:lnTo>
                        <a:lnTo>
                          <a:pt x="93" y="17"/>
                        </a:lnTo>
                        <a:lnTo>
                          <a:pt x="95" y="20"/>
                        </a:lnTo>
                        <a:lnTo>
                          <a:pt x="96" y="17"/>
                        </a:lnTo>
                        <a:lnTo>
                          <a:pt x="98" y="16"/>
                        </a:lnTo>
                        <a:lnTo>
                          <a:pt x="101" y="10"/>
                        </a:lnTo>
                        <a:lnTo>
                          <a:pt x="101" y="8"/>
                        </a:lnTo>
                        <a:lnTo>
                          <a:pt x="102" y="7"/>
                        </a:lnTo>
                        <a:lnTo>
                          <a:pt x="108" y="7"/>
                        </a:lnTo>
                        <a:lnTo>
                          <a:pt x="109" y="8"/>
                        </a:lnTo>
                        <a:lnTo>
                          <a:pt x="109" y="11"/>
                        </a:lnTo>
                        <a:lnTo>
                          <a:pt x="111" y="13"/>
                        </a:lnTo>
                        <a:lnTo>
                          <a:pt x="112" y="16"/>
                        </a:lnTo>
                        <a:lnTo>
                          <a:pt x="112" y="22"/>
                        </a:lnTo>
                        <a:lnTo>
                          <a:pt x="114" y="26"/>
                        </a:lnTo>
                        <a:lnTo>
                          <a:pt x="117" y="32"/>
                        </a:lnTo>
                        <a:lnTo>
                          <a:pt x="123" y="38"/>
                        </a:lnTo>
                        <a:lnTo>
                          <a:pt x="105" y="48"/>
                        </a:lnTo>
                        <a:lnTo>
                          <a:pt x="106" y="79"/>
                        </a:lnTo>
                        <a:lnTo>
                          <a:pt x="117" y="76"/>
                        </a:lnTo>
                        <a:lnTo>
                          <a:pt x="118" y="75"/>
                        </a:lnTo>
                        <a:lnTo>
                          <a:pt x="120" y="72"/>
                        </a:lnTo>
                        <a:lnTo>
                          <a:pt x="123" y="70"/>
                        </a:lnTo>
                        <a:lnTo>
                          <a:pt x="138" y="70"/>
                        </a:lnTo>
                        <a:lnTo>
                          <a:pt x="140" y="72"/>
                        </a:lnTo>
                        <a:lnTo>
                          <a:pt x="142" y="73"/>
                        </a:lnTo>
                        <a:lnTo>
                          <a:pt x="145" y="73"/>
                        </a:lnTo>
                        <a:lnTo>
                          <a:pt x="146" y="75"/>
                        </a:lnTo>
                        <a:lnTo>
                          <a:pt x="154" y="75"/>
                        </a:lnTo>
                        <a:lnTo>
                          <a:pt x="160" y="100"/>
                        </a:lnTo>
                        <a:lnTo>
                          <a:pt x="166" y="116"/>
                        </a:lnTo>
                        <a:lnTo>
                          <a:pt x="164" y="118"/>
                        </a:lnTo>
                        <a:lnTo>
                          <a:pt x="163" y="121"/>
                        </a:lnTo>
                        <a:lnTo>
                          <a:pt x="163" y="122"/>
                        </a:lnTo>
                        <a:lnTo>
                          <a:pt x="161" y="124"/>
                        </a:lnTo>
                        <a:lnTo>
                          <a:pt x="161" y="127"/>
                        </a:lnTo>
                        <a:lnTo>
                          <a:pt x="163" y="130"/>
                        </a:lnTo>
                        <a:lnTo>
                          <a:pt x="163" y="141"/>
                        </a:lnTo>
                        <a:lnTo>
                          <a:pt x="161" y="144"/>
                        </a:lnTo>
                        <a:lnTo>
                          <a:pt x="161" y="149"/>
                        </a:lnTo>
                        <a:lnTo>
                          <a:pt x="169" y="159"/>
                        </a:lnTo>
                        <a:lnTo>
                          <a:pt x="163" y="164"/>
                        </a:lnTo>
                        <a:lnTo>
                          <a:pt x="160" y="164"/>
                        </a:lnTo>
                        <a:lnTo>
                          <a:pt x="151" y="165"/>
                        </a:lnTo>
                        <a:lnTo>
                          <a:pt x="142" y="168"/>
                        </a:lnTo>
                        <a:lnTo>
                          <a:pt x="136" y="168"/>
                        </a:lnTo>
                        <a:lnTo>
                          <a:pt x="127" y="167"/>
                        </a:lnTo>
                        <a:lnTo>
                          <a:pt x="115" y="167"/>
                        </a:lnTo>
                        <a:lnTo>
                          <a:pt x="105" y="165"/>
                        </a:lnTo>
                        <a:lnTo>
                          <a:pt x="99" y="165"/>
                        </a:lnTo>
                        <a:lnTo>
                          <a:pt x="96" y="167"/>
                        </a:lnTo>
                        <a:lnTo>
                          <a:pt x="92" y="168"/>
                        </a:lnTo>
                        <a:lnTo>
                          <a:pt x="90" y="170"/>
                        </a:lnTo>
                        <a:lnTo>
                          <a:pt x="87" y="171"/>
                        </a:lnTo>
                        <a:lnTo>
                          <a:pt x="74" y="178"/>
                        </a:lnTo>
                        <a:lnTo>
                          <a:pt x="80" y="192"/>
                        </a:lnTo>
                        <a:lnTo>
                          <a:pt x="74" y="195"/>
                        </a:lnTo>
                        <a:lnTo>
                          <a:pt x="80" y="201"/>
                        </a:lnTo>
                        <a:lnTo>
                          <a:pt x="80" y="204"/>
                        </a:lnTo>
                        <a:lnTo>
                          <a:pt x="78" y="205"/>
                        </a:lnTo>
                        <a:lnTo>
                          <a:pt x="77" y="208"/>
                        </a:lnTo>
                        <a:lnTo>
                          <a:pt x="75" y="209"/>
                        </a:lnTo>
                        <a:lnTo>
                          <a:pt x="74" y="212"/>
                        </a:lnTo>
                        <a:lnTo>
                          <a:pt x="72" y="214"/>
                        </a:lnTo>
                        <a:lnTo>
                          <a:pt x="68" y="212"/>
                        </a:lnTo>
                        <a:lnTo>
                          <a:pt x="64" y="214"/>
                        </a:lnTo>
                        <a:lnTo>
                          <a:pt x="58" y="211"/>
                        </a:lnTo>
                        <a:lnTo>
                          <a:pt x="50" y="211"/>
                        </a:lnTo>
                        <a:lnTo>
                          <a:pt x="47" y="209"/>
                        </a:lnTo>
                        <a:lnTo>
                          <a:pt x="44" y="209"/>
                        </a:lnTo>
                        <a:lnTo>
                          <a:pt x="43" y="208"/>
                        </a:lnTo>
                        <a:lnTo>
                          <a:pt x="43" y="202"/>
                        </a:lnTo>
                        <a:lnTo>
                          <a:pt x="34" y="193"/>
                        </a:lnTo>
                        <a:lnTo>
                          <a:pt x="34" y="187"/>
                        </a:lnTo>
                        <a:lnTo>
                          <a:pt x="35" y="186"/>
                        </a:lnTo>
                        <a:lnTo>
                          <a:pt x="38" y="184"/>
                        </a:lnTo>
                        <a:lnTo>
                          <a:pt x="40" y="183"/>
                        </a:lnTo>
                        <a:lnTo>
                          <a:pt x="46" y="180"/>
                        </a:lnTo>
                        <a:lnTo>
                          <a:pt x="47" y="177"/>
                        </a:lnTo>
                        <a:lnTo>
                          <a:pt x="47" y="167"/>
                        </a:lnTo>
                        <a:lnTo>
                          <a:pt x="50" y="165"/>
                        </a:lnTo>
                        <a:lnTo>
                          <a:pt x="52" y="164"/>
                        </a:lnTo>
                        <a:lnTo>
                          <a:pt x="55" y="162"/>
                        </a:lnTo>
                        <a:lnTo>
                          <a:pt x="56" y="162"/>
                        </a:lnTo>
                        <a:lnTo>
                          <a:pt x="58" y="161"/>
                        </a:lnTo>
                        <a:lnTo>
                          <a:pt x="62" y="165"/>
                        </a:lnTo>
                        <a:lnTo>
                          <a:pt x="62" y="167"/>
                        </a:lnTo>
                        <a:lnTo>
                          <a:pt x="64" y="165"/>
                        </a:lnTo>
                        <a:lnTo>
                          <a:pt x="67" y="165"/>
                        </a:lnTo>
                        <a:lnTo>
                          <a:pt x="71" y="164"/>
                        </a:lnTo>
                        <a:lnTo>
                          <a:pt x="72" y="162"/>
                        </a:lnTo>
                        <a:lnTo>
                          <a:pt x="74" y="159"/>
                        </a:lnTo>
                        <a:lnTo>
                          <a:pt x="72" y="156"/>
                        </a:lnTo>
                        <a:lnTo>
                          <a:pt x="72" y="153"/>
                        </a:lnTo>
                        <a:lnTo>
                          <a:pt x="71" y="152"/>
                        </a:lnTo>
                        <a:lnTo>
                          <a:pt x="69" y="149"/>
                        </a:lnTo>
                        <a:lnTo>
                          <a:pt x="69" y="143"/>
                        </a:lnTo>
                        <a:lnTo>
                          <a:pt x="71" y="140"/>
                        </a:lnTo>
                        <a:lnTo>
                          <a:pt x="71" y="137"/>
                        </a:lnTo>
                        <a:lnTo>
                          <a:pt x="83" y="131"/>
                        </a:lnTo>
                        <a:lnTo>
                          <a:pt x="83" y="116"/>
                        </a:lnTo>
                        <a:lnTo>
                          <a:pt x="81" y="115"/>
                        </a:lnTo>
                        <a:lnTo>
                          <a:pt x="78" y="115"/>
                        </a:lnTo>
                        <a:lnTo>
                          <a:pt x="75" y="112"/>
                        </a:lnTo>
                        <a:lnTo>
                          <a:pt x="74" y="109"/>
                        </a:lnTo>
                        <a:lnTo>
                          <a:pt x="74" y="104"/>
                        </a:lnTo>
                        <a:lnTo>
                          <a:pt x="71" y="103"/>
                        </a:lnTo>
                        <a:lnTo>
                          <a:pt x="69" y="102"/>
                        </a:lnTo>
                        <a:lnTo>
                          <a:pt x="69" y="96"/>
                        </a:lnTo>
                        <a:lnTo>
                          <a:pt x="68" y="94"/>
                        </a:lnTo>
                        <a:lnTo>
                          <a:pt x="64" y="91"/>
                        </a:lnTo>
                        <a:lnTo>
                          <a:pt x="55" y="91"/>
                        </a:lnTo>
                        <a:lnTo>
                          <a:pt x="52" y="94"/>
                        </a:lnTo>
                        <a:lnTo>
                          <a:pt x="46" y="94"/>
                        </a:lnTo>
                        <a:lnTo>
                          <a:pt x="41" y="96"/>
                        </a:lnTo>
                        <a:lnTo>
                          <a:pt x="35" y="96"/>
                        </a:lnTo>
                        <a:lnTo>
                          <a:pt x="34" y="94"/>
                        </a:lnTo>
                        <a:lnTo>
                          <a:pt x="34" y="93"/>
                        </a:lnTo>
                        <a:lnTo>
                          <a:pt x="32" y="91"/>
                        </a:lnTo>
                        <a:lnTo>
                          <a:pt x="32" y="88"/>
                        </a:lnTo>
                        <a:lnTo>
                          <a:pt x="31" y="87"/>
                        </a:lnTo>
                        <a:lnTo>
                          <a:pt x="28" y="87"/>
                        </a:lnTo>
                        <a:lnTo>
                          <a:pt x="24" y="88"/>
                        </a:lnTo>
                        <a:lnTo>
                          <a:pt x="21" y="90"/>
                        </a:lnTo>
                        <a:lnTo>
                          <a:pt x="18" y="90"/>
                        </a:lnTo>
                        <a:lnTo>
                          <a:pt x="15" y="91"/>
                        </a:lnTo>
                        <a:lnTo>
                          <a:pt x="13" y="93"/>
                        </a:lnTo>
                        <a:lnTo>
                          <a:pt x="12" y="93"/>
                        </a:lnTo>
                        <a:lnTo>
                          <a:pt x="4" y="90"/>
                        </a:lnTo>
                        <a:lnTo>
                          <a:pt x="1" y="82"/>
                        </a:lnTo>
                        <a:lnTo>
                          <a:pt x="3" y="82"/>
                        </a:lnTo>
                        <a:lnTo>
                          <a:pt x="4" y="81"/>
                        </a:lnTo>
                        <a:lnTo>
                          <a:pt x="9" y="79"/>
                        </a:lnTo>
                        <a:lnTo>
                          <a:pt x="12" y="76"/>
                        </a:lnTo>
                        <a:lnTo>
                          <a:pt x="16" y="73"/>
                        </a:lnTo>
                        <a:lnTo>
                          <a:pt x="19" y="68"/>
                        </a:lnTo>
                        <a:lnTo>
                          <a:pt x="19" y="63"/>
                        </a:lnTo>
                        <a:lnTo>
                          <a:pt x="16" y="57"/>
                        </a:lnTo>
                        <a:lnTo>
                          <a:pt x="15" y="56"/>
                        </a:lnTo>
                        <a:lnTo>
                          <a:pt x="12" y="50"/>
                        </a:lnTo>
                        <a:lnTo>
                          <a:pt x="12" y="47"/>
                        </a:lnTo>
                        <a:lnTo>
                          <a:pt x="9" y="44"/>
                        </a:lnTo>
                        <a:lnTo>
                          <a:pt x="6" y="42"/>
                        </a:lnTo>
                        <a:lnTo>
                          <a:pt x="0" y="42"/>
                        </a:lnTo>
                        <a:lnTo>
                          <a:pt x="1" y="41"/>
                        </a:lnTo>
                        <a:lnTo>
                          <a:pt x="3" y="41"/>
                        </a:lnTo>
                        <a:lnTo>
                          <a:pt x="12" y="39"/>
                        </a:lnTo>
                        <a:lnTo>
                          <a:pt x="16" y="35"/>
                        </a:lnTo>
                        <a:lnTo>
                          <a:pt x="16" y="25"/>
                        </a:lnTo>
                        <a:lnTo>
                          <a:pt x="9" y="17"/>
                        </a:lnTo>
                        <a:lnTo>
                          <a:pt x="6" y="11"/>
                        </a:lnTo>
                        <a:lnTo>
                          <a:pt x="6" y="10"/>
                        </a:lnTo>
                        <a:lnTo>
                          <a:pt x="7" y="8"/>
                        </a:lnTo>
                        <a:lnTo>
                          <a:pt x="10" y="7"/>
                        </a:lnTo>
                        <a:lnTo>
                          <a:pt x="13" y="4"/>
                        </a:lnTo>
                        <a:lnTo>
                          <a:pt x="22"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2" name="Freeform 261" descr="© INSCALE GmbH, 21.06.2010"/>
                  <p:cNvSpPr>
                    <a:spLocks noChangeAspect="1"/>
                  </p:cNvSpPr>
                  <p:nvPr/>
                </p:nvSpPr>
                <p:spPr bwMode="auto">
                  <a:xfrm>
                    <a:off x="3190374" y="3859625"/>
                    <a:ext cx="90166" cy="113748"/>
                  </a:xfrm>
                  <a:custGeom>
                    <a:avLst/>
                    <a:gdLst>
                      <a:gd name="T0" fmla="*/ 2147483646 w 95"/>
                      <a:gd name="T1" fmla="*/ 2147483646 h 117"/>
                      <a:gd name="T2" fmla="*/ 2147483646 w 95"/>
                      <a:gd name="T3" fmla="*/ 2147483646 h 117"/>
                      <a:gd name="T4" fmla="*/ 2147483646 w 95"/>
                      <a:gd name="T5" fmla="*/ 2147483646 h 117"/>
                      <a:gd name="T6" fmla="*/ 2147483646 w 95"/>
                      <a:gd name="T7" fmla="*/ 2147483646 h 117"/>
                      <a:gd name="T8" fmla="*/ 2147483646 w 95"/>
                      <a:gd name="T9" fmla="*/ 2147483646 h 117"/>
                      <a:gd name="T10" fmla="*/ 2147483646 w 95"/>
                      <a:gd name="T11" fmla="*/ 2147483646 h 117"/>
                      <a:gd name="T12" fmla="*/ 2147483646 w 95"/>
                      <a:gd name="T13" fmla="*/ 2147483646 h 117"/>
                      <a:gd name="T14" fmla="*/ 2147483646 w 95"/>
                      <a:gd name="T15" fmla="*/ 2147483646 h 117"/>
                      <a:gd name="T16" fmla="*/ 2147483646 w 95"/>
                      <a:gd name="T17" fmla="*/ 2147483646 h 117"/>
                      <a:gd name="T18" fmla="*/ 2147483646 w 95"/>
                      <a:gd name="T19" fmla="*/ 2147483646 h 117"/>
                      <a:gd name="T20" fmla="*/ 2147483646 w 95"/>
                      <a:gd name="T21" fmla="*/ 2147483646 h 117"/>
                      <a:gd name="T22" fmla="*/ 2147483646 w 95"/>
                      <a:gd name="T23" fmla="*/ 2147483646 h 117"/>
                      <a:gd name="T24" fmla="*/ 2147483646 w 95"/>
                      <a:gd name="T25" fmla="*/ 2147483646 h 117"/>
                      <a:gd name="T26" fmla="*/ 2147483646 w 95"/>
                      <a:gd name="T27" fmla="*/ 2147483646 h 117"/>
                      <a:gd name="T28" fmla="*/ 2147483646 w 95"/>
                      <a:gd name="T29" fmla="*/ 2147483646 h 117"/>
                      <a:gd name="T30" fmla="*/ 2147483646 w 95"/>
                      <a:gd name="T31" fmla="*/ 2147483646 h 117"/>
                      <a:gd name="T32" fmla="*/ 2147483646 w 95"/>
                      <a:gd name="T33" fmla="*/ 2147483646 h 117"/>
                      <a:gd name="T34" fmla="*/ 2147483646 w 95"/>
                      <a:gd name="T35" fmla="*/ 2147483646 h 117"/>
                      <a:gd name="T36" fmla="*/ 2147483646 w 95"/>
                      <a:gd name="T37" fmla="*/ 2147483646 h 117"/>
                      <a:gd name="T38" fmla="*/ 2147483646 w 95"/>
                      <a:gd name="T39" fmla="*/ 2147483646 h 117"/>
                      <a:gd name="T40" fmla="*/ 2147483646 w 95"/>
                      <a:gd name="T41" fmla="*/ 2147483646 h 117"/>
                      <a:gd name="T42" fmla="*/ 2147483646 w 95"/>
                      <a:gd name="T43" fmla="*/ 2147483646 h 117"/>
                      <a:gd name="T44" fmla="*/ 2147483646 w 95"/>
                      <a:gd name="T45" fmla="*/ 2147483646 h 117"/>
                      <a:gd name="T46" fmla="*/ 2147483646 w 95"/>
                      <a:gd name="T47" fmla="*/ 2147483646 h 117"/>
                      <a:gd name="T48" fmla="*/ 2147483646 w 95"/>
                      <a:gd name="T49" fmla="*/ 2147483646 h 117"/>
                      <a:gd name="T50" fmla="*/ 2147483646 w 95"/>
                      <a:gd name="T51" fmla="*/ 2147483646 h 117"/>
                      <a:gd name="T52" fmla="*/ 2147483646 w 95"/>
                      <a:gd name="T53" fmla="*/ 2147483646 h 117"/>
                      <a:gd name="T54" fmla="*/ 2147483646 w 95"/>
                      <a:gd name="T55" fmla="*/ 2147483646 h 117"/>
                      <a:gd name="T56" fmla="*/ 2147483646 w 95"/>
                      <a:gd name="T57" fmla="*/ 2147483646 h 117"/>
                      <a:gd name="T58" fmla="*/ 2147483646 w 95"/>
                      <a:gd name="T59" fmla="*/ 2147483646 h 117"/>
                      <a:gd name="T60" fmla="*/ 2147483646 w 95"/>
                      <a:gd name="T61" fmla="*/ 2147483646 h 117"/>
                      <a:gd name="T62" fmla="*/ 2147483646 w 95"/>
                      <a:gd name="T63" fmla="*/ 2147483646 h 117"/>
                      <a:gd name="T64" fmla="*/ 2147483646 w 95"/>
                      <a:gd name="T65" fmla="*/ 2147483646 h 117"/>
                      <a:gd name="T66" fmla="*/ 2147483646 w 95"/>
                      <a:gd name="T67" fmla="*/ 2147483646 h 117"/>
                      <a:gd name="T68" fmla="*/ 2147483646 w 95"/>
                      <a:gd name="T69" fmla="*/ 2147483646 h 117"/>
                      <a:gd name="T70" fmla="*/ 2147483646 w 95"/>
                      <a:gd name="T71" fmla="*/ 2147483646 h 117"/>
                      <a:gd name="T72" fmla="*/ 2147483646 w 95"/>
                      <a:gd name="T73" fmla="*/ 2147483646 h 117"/>
                      <a:gd name="T74" fmla="*/ 2147483646 w 95"/>
                      <a:gd name="T75" fmla="*/ 2147483646 h 117"/>
                      <a:gd name="T76" fmla="*/ 2147483646 w 95"/>
                      <a:gd name="T77" fmla="*/ 2147483646 h 117"/>
                      <a:gd name="T78" fmla="*/ 0 w 95"/>
                      <a:gd name="T79" fmla="*/ 2147483646 h 117"/>
                      <a:gd name="T80" fmla="*/ 2147483646 w 95"/>
                      <a:gd name="T81" fmla="*/ 2147483646 h 117"/>
                      <a:gd name="T82" fmla="*/ 2147483646 w 95"/>
                      <a:gd name="T83" fmla="*/ 2147483646 h 117"/>
                      <a:gd name="T84" fmla="*/ 2147483646 w 95"/>
                      <a:gd name="T85" fmla="*/ 2147483646 h 117"/>
                      <a:gd name="T86" fmla="*/ 2147483646 w 95"/>
                      <a:gd name="T87" fmla="*/ 2147483646 h 117"/>
                      <a:gd name="T88" fmla="*/ 2147483646 w 95"/>
                      <a:gd name="T89" fmla="*/ 2147483646 h 117"/>
                      <a:gd name="T90" fmla="*/ 2147483646 w 95"/>
                      <a:gd name="T91" fmla="*/ 2147483646 h 117"/>
                      <a:gd name="T92" fmla="*/ 2147483646 w 95"/>
                      <a:gd name="T93" fmla="*/ 0 h 1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5"/>
                      <a:gd name="T142" fmla="*/ 0 h 117"/>
                      <a:gd name="T143" fmla="*/ 95 w 95"/>
                      <a:gd name="T144" fmla="*/ 117 h 1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5" h="117">
                        <a:moveTo>
                          <a:pt x="42" y="0"/>
                        </a:moveTo>
                        <a:lnTo>
                          <a:pt x="45" y="2"/>
                        </a:lnTo>
                        <a:lnTo>
                          <a:pt x="46" y="5"/>
                        </a:lnTo>
                        <a:lnTo>
                          <a:pt x="48" y="6"/>
                        </a:lnTo>
                        <a:lnTo>
                          <a:pt x="49" y="9"/>
                        </a:lnTo>
                        <a:lnTo>
                          <a:pt x="54" y="14"/>
                        </a:lnTo>
                        <a:lnTo>
                          <a:pt x="59" y="14"/>
                        </a:lnTo>
                        <a:lnTo>
                          <a:pt x="68" y="23"/>
                        </a:lnTo>
                        <a:lnTo>
                          <a:pt x="68" y="25"/>
                        </a:lnTo>
                        <a:lnTo>
                          <a:pt x="70" y="28"/>
                        </a:lnTo>
                        <a:lnTo>
                          <a:pt x="70" y="31"/>
                        </a:lnTo>
                        <a:lnTo>
                          <a:pt x="73" y="34"/>
                        </a:lnTo>
                        <a:lnTo>
                          <a:pt x="79" y="34"/>
                        </a:lnTo>
                        <a:lnTo>
                          <a:pt x="82" y="33"/>
                        </a:lnTo>
                        <a:lnTo>
                          <a:pt x="85" y="33"/>
                        </a:lnTo>
                        <a:lnTo>
                          <a:pt x="85" y="42"/>
                        </a:lnTo>
                        <a:lnTo>
                          <a:pt x="86" y="45"/>
                        </a:lnTo>
                        <a:lnTo>
                          <a:pt x="86" y="51"/>
                        </a:lnTo>
                        <a:lnTo>
                          <a:pt x="88" y="52"/>
                        </a:lnTo>
                        <a:lnTo>
                          <a:pt x="89" y="55"/>
                        </a:lnTo>
                        <a:lnTo>
                          <a:pt x="94" y="59"/>
                        </a:lnTo>
                        <a:lnTo>
                          <a:pt x="89" y="65"/>
                        </a:lnTo>
                        <a:lnTo>
                          <a:pt x="95" y="73"/>
                        </a:lnTo>
                        <a:lnTo>
                          <a:pt x="92" y="73"/>
                        </a:lnTo>
                        <a:lnTo>
                          <a:pt x="92" y="76"/>
                        </a:lnTo>
                        <a:lnTo>
                          <a:pt x="91" y="77"/>
                        </a:lnTo>
                        <a:lnTo>
                          <a:pt x="91" y="79"/>
                        </a:lnTo>
                        <a:lnTo>
                          <a:pt x="89" y="80"/>
                        </a:lnTo>
                        <a:lnTo>
                          <a:pt x="85" y="80"/>
                        </a:lnTo>
                        <a:lnTo>
                          <a:pt x="83" y="82"/>
                        </a:lnTo>
                        <a:lnTo>
                          <a:pt x="82" y="82"/>
                        </a:lnTo>
                        <a:lnTo>
                          <a:pt x="82" y="83"/>
                        </a:lnTo>
                        <a:lnTo>
                          <a:pt x="85" y="86"/>
                        </a:lnTo>
                        <a:lnTo>
                          <a:pt x="86" y="89"/>
                        </a:lnTo>
                        <a:lnTo>
                          <a:pt x="86" y="99"/>
                        </a:lnTo>
                        <a:lnTo>
                          <a:pt x="76" y="105"/>
                        </a:lnTo>
                        <a:lnTo>
                          <a:pt x="73" y="102"/>
                        </a:lnTo>
                        <a:lnTo>
                          <a:pt x="67" y="102"/>
                        </a:lnTo>
                        <a:lnTo>
                          <a:pt x="64" y="104"/>
                        </a:lnTo>
                        <a:lnTo>
                          <a:pt x="62" y="104"/>
                        </a:lnTo>
                        <a:lnTo>
                          <a:pt x="59" y="105"/>
                        </a:lnTo>
                        <a:lnTo>
                          <a:pt x="58" y="107"/>
                        </a:lnTo>
                        <a:lnTo>
                          <a:pt x="57" y="107"/>
                        </a:lnTo>
                        <a:lnTo>
                          <a:pt x="52" y="105"/>
                        </a:lnTo>
                        <a:lnTo>
                          <a:pt x="49" y="107"/>
                        </a:lnTo>
                        <a:lnTo>
                          <a:pt x="48" y="107"/>
                        </a:lnTo>
                        <a:lnTo>
                          <a:pt x="45" y="110"/>
                        </a:lnTo>
                        <a:lnTo>
                          <a:pt x="43" y="110"/>
                        </a:lnTo>
                        <a:lnTo>
                          <a:pt x="40" y="111"/>
                        </a:lnTo>
                        <a:lnTo>
                          <a:pt x="36" y="111"/>
                        </a:lnTo>
                        <a:lnTo>
                          <a:pt x="31" y="113"/>
                        </a:lnTo>
                        <a:lnTo>
                          <a:pt x="28" y="114"/>
                        </a:lnTo>
                        <a:lnTo>
                          <a:pt x="27" y="116"/>
                        </a:lnTo>
                        <a:lnTo>
                          <a:pt x="24" y="117"/>
                        </a:lnTo>
                        <a:lnTo>
                          <a:pt x="21" y="117"/>
                        </a:lnTo>
                        <a:lnTo>
                          <a:pt x="18" y="116"/>
                        </a:lnTo>
                        <a:lnTo>
                          <a:pt x="9" y="116"/>
                        </a:lnTo>
                        <a:lnTo>
                          <a:pt x="9" y="111"/>
                        </a:lnTo>
                        <a:lnTo>
                          <a:pt x="0" y="102"/>
                        </a:lnTo>
                        <a:lnTo>
                          <a:pt x="3" y="99"/>
                        </a:lnTo>
                        <a:lnTo>
                          <a:pt x="6" y="98"/>
                        </a:lnTo>
                        <a:lnTo>
                          <a:pt x="8" y="96"/>
                        </a:lnTo>
                        <a:lnTo>
                          <a:pt x="11" y="95"/>
                        </a:lnTo>
                        <a:lnTo>
                          <a:pt x="12" y="92"/>
                        </a:lnTo>
                        <a:lnTo>
                          <a:pt x="15" y="88"/>
                        </a:lnTo>
                        <a:lnTo>
                          <a:pt x="17" y="85"/>
                        </a:lnTo>
                        <a:lnTo>
                          <a:pt x="20" y="82"/>
                        </a:lnTo>
                        <a:lnTo>
                          <a:pt x="20" y="77"/>
                        </a:lnTo>
                        <a:lnTo>
                          <a:pt x="21" y="74"/>
                        </a:lnTo>
                        <a:lnTo>
                          <a:pt x="21" y="70"/>
                        </a:lnTo>
                        <a:lnTo>
                          <a:pt x="23" y="67"/>
                        </a:lnTo>
                        <a:lnTo>
                          <a:pt x="25" y="64"/>
                        </a:lnTo>
                        <a:lnTo>
                          <a:pt x="25" y="59"/>
                        </a:lnTo>
                        <a:lnTo>
                          <a:pt x="24" y="57"/>
                        </a:lnTo>
                        <a:lnTo>
                          <a:pt x="24" y="54"/>
                        </a:lnTo>
                        <a:lnTo>
                          <a:pt x="21" y="51"/>
                        </a:lnTo>
                        <a:lnTo>
                          <a:pt x="9" y="51"/>
                        </a:lnTo>
                        <a:lnTo>
                          <a:pt x="9" y="46"/>
                        </a:lnTo>
                        <a:lnTo>
                          <a:pt x="2" y="39"/>
                        </a:lnTo>
                        <a:lnTo>
                          <a:pt x="0" y="39"/>
                        </a:lnTo>
                        <a:lnTo>
                          <a:pt x="0" y="33"/>
                        </a:lnTo>
                        <a:lnTo>
                          <a:pt x="3" y="27"/>
                        </a:lnTo>
                        <a:lnTo>
                          <a:pt x="5" y="25"/>
                        </a:lnTo>
                        <a:lnTo>
                          <a:pt x="8" y="24"/>
                        </a:lnTo>
                        <a:lnTo>
                          <a:pt x="9" y="23"/>
                        </a:lnTo>
                        <a:lnTo>
                          <a:pt x="12" y="21"/>
                        </a:lnTo>
                        <a:lnTo>
                          <a:pt x="12" y="23"/>
                        </a:lnTo>
                        <a:lnTo>
                          <a:pt x="20" y="23"/>
                        </a:lnTo>
                        <a:lnTo>
                          <a:pt x="23" y="21"/>
                        </a:lnTo>
                        <a:lnTo>
                          <a:pt x="27" y="21"/>
                        </a:lnTo>
                        <a:lnTo>
                          <a:pt x="30" y="20"/>
                        </a:lnTo>
                        <a:lnTo>
                          <a:pt x="33" y="20"/>
                        </a:lnTo>
                        <a:lnTo>
                          <a:pt x="39" y="9"/>
                        </a:lnTo>
                        <a:lnTo>
                          <a:pt x="42"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3" name="Freeform 262" descr="© INSCALE GmbH, 21.06.2010"/>
                  <p:cNvSpPr>
                    <a:spLocks noChangeAspect="1"/>
                  </p:cNvSpPr>
                  <p:nvPr/>
                </p:nvSpPr>
                <p:spPr bwMode="auto">
                  <a:xfrm>
                    <a:off x="3150146" y="3955340"/>
                    <a:ext cx="138718" cy="185882"/>
                  </a:xfrm>
                  <a:custGeom>
                    <a:avLst/>
                    <a:gdLst>
                      <a:gd name="T0" fmla="*/ 2147483646 w 143"/>
                      <a:gd name="T1" fmla="*/ 2147483646 h 194"/>
                      <a:gd name="T2" fmla="*/ 2147483646 w 143"/>
                      <a:gd name="T3" fmla="*/ 2147483646 h 194"/>
                      <a:gd name="T4" fmla="*/ 2147483646 w 143"/>
                      <a:gd name="T5" fmla="*/ 2147483646 h 194"/>
                      <a:gd name="T6" fmla="*/ 2147483646 w 143"/>
                      <a:gd name="T7" fmla="*/ 2147483646 h 194"/>
                      <a:gd name="T8" fmla="*/ 2147483646 w 143"/>
                      <a:gd name="T9" fmla="*/ 2147483646 h 194"/>
                      <a:gd name="T10" fmla="*/ 2147483646 w 143"/>
                      <a:gd name="T11" fmla="*/ 2147483646 h 194"/>
                      <a:gd name="T12" fmla="*/ 2147483646 w 143"/>
                      <a:gd name="T13" fmla="*/ 2147483646 h 194"/>
                      <a:gd name="T14" fmla="*/ 2147483646 w 143"/>
                      <a:gd name="T15" fmla="*/ 2147483646 h 194"/>
                      <a:gd name="T16" fmla="*/ 2147483646 w 143"/>
                      <a:gd name="T17" fmla="*/ 2147483646 h 194"/>
                      <a:gd name="T18" fmla="*/ 2147483646 w 143"/>
                      <a:gd name="T19" fmla="*/ 2147483646 h 194"/>
                      <a:gd name="T20" fmla="*/ 2147483646 w 143"/>
                      <a:gd name="T21" fmla="*/ 2147483646 h 194"/>
                      <a:gd name="T22" fmla="*/ 2147483646 w 143"/>
                      <a:gd name="T23" fmla="*/ 2147483646 h 194"/>
                      <a:gd name="T24" fmla="*/ 2147483646 w 143"/>
                      <a:gd name="T25" fmla="*/ 2147483646 h 194"/>
                      <a:gd name="T26" fmla="*/ 2147483646 w 143"/>
                      <a:gd name="T27" fmla="*/ 2147483646 h 194"/>
                      <a:gd name="T28" fmla="*/ 2147483646 w 143"/>
                      <a:gd name="T29" fmla="*/ 2147483646 h 194"/>
                      <a:gd name="T30" fmla="*/ 2147483646 w 143"/>
                      <a:gd name="T31" fmla="*/ 2147483646 h 194"/>
                      <a:gd name="T32" fmla="*/ 2147483646 w 143"/>
                      <a:gd name="T33" fmla="*/ 2147483646 h 194"/>
                      <a:gd name="T34" fmla="*/ 2147483646 w 143"/>
                      <a:gd name="T35" fmla="*/ 2147483646 h 194"/>
                      <a:gd name="T36" fmla="*/ 2147483646 w 143"/>
                      <a:gd name="T37" fmla="*/ 2147483646 h 194"/>
                      <a:gd name="T38" fmla="*/ 2147483646 w 143"/>
                      <a:gd name="T39" fmla="*/ 2147483646 h 194"/>
                      <a:gd name="T40" fmla="*/ 2147483646 w 143"/>
                      <a:gd name="T41" fmla="*/ 2147483646 h 194"/>
                      <a:gd name="T42" fmla="*/ 2147483646 w 143"/>
                      <a:gd name="T43" fmla="*/ 2147483646 h 194"/>
                      <a:gd name="T44" fmla="*/ 2147483646 w 143"/>
                      <a:gd name="T45" fmla="*/ 2147483646 h 194"/>
                      <a:gd name="T46" fmla="*/ 2147483646 w 143"/>
                      <a:gd name="T47" fmla="*/ 2147483646 h 194"/>
                      <a:gd name="T48" fmla="*/ 2147483646 w 143"/>
                      <a:gd name="T49" fmla="*/ 2147483646 h 194"/>
                      <a:gd name="T50" fmla="*/ 2147483646 w 143"/>
                      <a:gd name="T51" fmla="*/ 2147483646 h 194"/>
                      <a:gd name="T52" fmla="*/ 2147483646 w 143"/>
                      <a:gd name="T53" fmla="*/ 2147483646 h 194"/>
                      <a:gd name="T54" fmla="*/ 2147483646 w 143"/>
                      <a:gd name="T55" fmla="*/ 2147483646 h 194"/>
                      <a:gd name="T56" fmla="*/ 2147483646 w 143"/>
                      <a:gd name="T57" fmla="*/ 2147483646 h 194"/>
                      <a:gd name="T58" fmla="*/ 2147483646 w 143"/>
                      <a:gd name="T59" fmla="*/ 2147483646 h 194"/>
                      <a:gd name="T60" fmla="*/ 2147483646 w 143"/>
                      <a:gd name="T61" fmla="*/ 2147483646 h 194"/>
                      <a:gd name="T62" fmla="*/ 2147483646 w 143"/>
                      <a:gd name="T63" fmla="*/ 2147483646 h 194"/>
                      <a:gd name="T64" fmla="*/ 2147483646 w 143"/>
                      <a:gd name="T65" fmla="*/ 2147483646 h 194"/>
                      <a:gd name="T66" fmla="*/ 2147483646 w 143"/>
                      <a:gd name="T67" fmla="*/ 2147483646 h 194"/>
                      <a:gd name="T68" fmla="*/ 2147483646 w 143"/>
                      <a:gd name="T69" fmla="*/ 2147483646 h 194"/>
                      <a:gd name="T70" fmla="*/ 2147483646 w 143"/>
                      <a:gd name="T71" fmla="*/ 2147483646 h 194"/>
                      <a:gd name="T72" fmla="*/ 2147483646 w 143"/>
                      <a:gd name="T73" fmla="*/ 2147483646 h 194"/>
                      <a:gd name="T74" fmla="*/ 2147483646 w 143"/>
                      <a:gd name="T75" fmla="*/ 2147483646 h 194"/>
                      <a:gd name="T76" fmla="*/ 2147483646 w 143"/>
                      <a:gd name="T77" fmla="*/ 2147483646 h 194"/>
                      <a:gd name="T78" fmla="*/ 2147483646 w 143"/>
                      <a:gd name="T79" fmla="*/ 2147483646 h 194"/>
                      <a:gd name="T80" fmla="*/ 0 w 143"/>
                      <a:gd name="T81" fmla="*/ 2147483646 h 194"/>
                      <a:gd name="T82" fmla="*/ 2147483646 w 143"/>
                      <a:gd name="T83" fmla="*/ 2147483646 h 194"/>
                      <a:gd name="T84" fmla="*/ 2147483646 w 143"/>
                      <a:gd name="T85" fmla="*/ 2147483646 h 194"/>
                      <a:gd name="T86" fmla="*/ 2147483646 w 143"/>
                      <a:gd name="T87" fmla="*/ 2147483646 h 194"/>
                      <a:gd name="T88" fmla="*/ 2147483646 w 143"/>
                      <a:gd name="T89" fmla="*/ 2147483646 h 194"/>
                      <a:gd name="T90" fmla="*/ 2147483646 w 143"/>
                      <a:gd name="T91" fmla="*/ 2147483646 h 194"/>
                      <a:gd name="T92" fmla="*/ 2147483646 w 143"/>
                      <a:gd name="T93" fmla="*/ 2147483646 h 194"/>
                      <a:gd name="T94" fmla="*/ 2147483646 w 143"/>
                      <a:gd name="T95" fmla="*/ 2147483646 h 194"/>
                      <a:gd name="T96" fmla="*/ 2147483646 w 143"/>
                      <a:gd name="T97" fmla="*/ 2147483646 h 194"/>
                      <a:gd name="T98" fmla="*/ 2147483646 w 143"/>
                      <a:gd name="T99" fmla="*/ 2147483646 h 194"/>
                      <a:gd name="T100" fmla="*/ 2147483646 w 143"/>
                      <a:gd name="T101" fmla="*/ 2147483646 h 194"/>
                      <a:gd name="T102" fmla="*/ 2147483646 w 143"/>
                      <a:gd name="T103" fmla="*/ 2147483646 h 194"/>
                      <a:gd name="T104" fmla="*/ 2147483646 w 143"/>
                      <a:gd name="T105" fmla="*/ 2147483646 h 194"/>
                      <a:gd name="T106" fmla="*/ 2147483646 w 143"/>
                      <a:gd name="T107" fmla="*/ 2147483646 h 19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43"/>
                      <a:gd name="T163" fmla="*/ 0 h 194"/>
                      <a:gd name="T164" fmla="*/ 143 w 143"/>
                      <a:gd name="T165" fmla="*/ 194 h 19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43" h="194">
                        <a:moveTo>
                          <a:pt x="127" y="0"/>
                        </a:moveTo>
                        <a:lnTo>
                          <a:pt x="135" y="0"/>
                        </a:lnTo>
                        <a:lnTo>
                          <a:pt x="137" y="2"/>
                        </a:lnTo>
                        <a:lnTo>
                          <a:pt x="140" y="5"/>
                        </a:lnTo>
                        <a:lnTo>
                          <a:pt x="142" y="8"/>
                        </a:lnTo>
                        <a:lnTo>
                          <a:pt x="142" y="9"/>
                        </a:lnTo>
                        <a:lnTo>
                          <a:pt x="137" y="18"/>
                        </a:lnTo>
                        <a:lnTo>
                          <a:pt x="137" y="26"/>
                        </a:lnTo>
                        <a:lnTo>
                          <a:pt x="140" y="31"/>
                        </a:lnTo>
                        <a:lnTo>
                          <a:pt x="140" y="34"/>
                        </a:lnTo>
                        <a:lnTo>
                          <a:pt x="142" y="37"/>
                        </a:lnTo>
                        <a:lnTo>
                          <a:pt x="143" y="39"/>
                        </a:lnTo>
                        <a:lnTo>
                          <a:pt x="143" y="43"/>
                        </a:lnTo>
                        <a:lnTo>
                          <a:pt x="142" y="43"/>
                        </a:lnTo>
                        <a:lnTo>
                          <a:pt x="140" y="45"/>
                        </a:lnTo>
                        <a:lnTo>
                          <a:pt x="136" y="45"/>
                        </a:lnTo>
                        <a:lnTo>
                          <a:pt x="133" y="46"/>
                        </a:lnTo>
                        <a:lnTo>
                          <a:pt x="129" y="48"/>
                        </a:lnTo>
                        <a:lnTo>
                          <a:pt x="124" y="48"/>
                        </a:lnTo>
                        <a:lnTo>
                          <a:pt x="121" y="49"/>
                        </a:lnTo>
                        <a:lnTo>
                          <a:pt x="120" y="49"/>
                        </a:lnTo>
                        <a:lnTo>
                          <a:pt x="118" y="51"/>
                        </a:lnTo>
                        <a:lnTo>
                          <a:pt x="118" y="57"/>
                        </a:lnTo>
                        <a:lnTo>
                          <a:pt x="117" y="58"/>
                        </a:lnTo>
                        <a:lnTo>
                          <a:pt x="114" y="60"/>
                        </a:lnTo>
                        <a:lnTo>
                          <a:pt x="112" y="61"/>
                        </a:lnTo>
                        <a:lnTo>
                          <a:pt x="108" y="70"/>
                        </a:lnTo>
                        <a:lnTo>
                          <a:pt x="106" y="71"/>
                        </a:lnTo>
                        <a:lnTo>
                          <a:pt x="106" y="73"/>
                        </a:lnTo>
                        <a:lnTo>
                          <a:pt x="99" y="76"/>
                        </a:lnTo>
                        <a:lnTo>
                          <a:pt x="86" y="83"/>
                        </a:lnTo>
                        <a:lnTo>
                          <a:pt x="89" y="85"/>
                        </a:lnTo>
                        <a:lnTo>
                          <a:pt x="90" y="86"/>
                        </a:lnTo>
                        <a:lnTo>
                          <a:pt x="93" y="88"/>
                        </a:lnTo>
                        <a:lnTo>
                          <a:pt x="96" y="91"/>
                        </a:lnTo>
                        <a:lnTo>
                          <a:pt x="99" y="92"/>
                        </a:lnTo>
                        <a:lnTo>
                          <a:pt x="99" y="95"/>
                        </a:lnTo>
                        <a:lnTo>
                          <a:pt x="96" y="97"/>
                        </a:lnTo>
                        <a:lnTo>
                          <a:pt x="95" y="97"/>
                        </a:lnTo>
                        <a:lnTo>
                          <a:pt x="93" y="98"/>
                        </a:lnTo>
                        <a:lnTo>
                          <a:pt x="92" y="98"/>
                        </a:lnTo>
                        <a:lnTo>
                          <a:pt x="95" y="108"/>
                        </a:lnTo>
                        <a:lnTo>
                          <a:pt x="83" y="120"/>
                        </a:lnTo>
                        <a:lnTo>
                          <a:pt x="77" y="123"/>
                        </a:lnTo>
                        <a:lnTo>
                          <a:pt x="74" y="126"/>
                        </a:lnTo>
                        <a:lnTo>
                          <a:pt x="69" y="129"/>
                        </a:lnTo>
                        <a:lnTo>
                          <a:pt x="64" y="132"/>
                        </a:lnTo>
                        <a:lnTo>
                          <a:pt x="59" y="136"/>
                        </a:lnTo>
                        <a:lnTo>
                          <a:pt x="58" y="141"/>
                        </a:lnTo>
                        <a:lnTo>
                          <a:pt x="58" y="144"/>
                        </a:lnTo>
                        <a:lnTo>
                          <a:pt x="59" y="145"/>
                        </a:lnTo>
                        <a:lnTo>
                          <a:pt x="61" y="145"/>
                        </a:lnTo>
                        <a:lnTo>
                          <a:pt x="64" y="147"/>
                        </a:lnTo>
                        <a:lnTo>
                          <a:pt x="72" y="147"/>
                        </a:lnTo>
                        <a:lnTo>
                          <a:pt x="77" y="162"/>
                        </a:lnTo>
                        <a:lnTo>
                          <a:pt x="75" y="163"/>
                        </a:lnTo>
                        <a:lnTo>
                          <a:pt x="71" y="172"/>
                        </a:lnTo>
                        <a:lnTo>
                          <a:pt x="71" y="175"/>
                        </a:lnTo>
                        <a:lnTo>
                          <a:pt x="69" y="178"/>
                        </a:lnTo>
                        <a:lnTo>
                          <a:pt x="69" y="181"/>
                        </a:lnTo>
                        <a:lnTo>
                          <a:pt x="68" y="184"/>
                        </a:lnTo>
                        <a:lnTo>
                          <a:pt x="68" y="185"/>
                        </a:lnTo>
                        <a:lnTo>
                          <a:pt x="66" y="185"/>
                        </a:lnTo>
                        <a:lnTo>
                          <a:pt x="65" y="187"/>
                        </a:lnTo>
                        <a:lnTo>
                          <a:pt x="62" y="188"/>
                        </a:lnTo>
                        <a:lnTo>
                          <a:pt x="58" y="193"/>
                        </a:lnTo>
                        <a:lnTo>
                          <a:pt x="53" y="193"/>
                        </a:lnTo>
                        <a:lnTo>
                          <a:pt x="50" y="191"/>
                        </a:lnTo>
                        <a:lnTo>
                          <a:pt x="49" y="190"/>
                        </a:lnTo>
                        <a:lnTo>
                          <a:pt x="43" y="187"/>
                        </a:lnTo>
                        <a:lnTo>
                          <a:pt x="41" y="185"/>
                        </a:lnTo>
                        <a:lnTo>
                          <a:pt x="37" y="194"/>
                        </a:lnTo>
                        <a:lnTo>
                          <a:pt x="34" y="194"/>
                        </a:lnTo>
                        <a:lnTo>
                          <a:pt x="28" y="191"/>
                        </a:lnTo>
                        <a:lnTo>
                          <a:pt x="24" y="190"/>
                        </a:lnTo>
                        <a:lnTo>
                          <a:pt x="21" y="188"/>
                        </a:lnTo>
                        <a:lnTo>
                          <a:pt x="18" y="185"/>
                        </a:lnTo>
                        <a:lnTo>
                          <a:pt x="18" y="181"/>
                        </a:lnTo>
                        <a:lnTo>
                          <a:pt x="21" y="179"/>
                        </a:lnTo>
                        <a:lnTo>
                          <a:pt x="22" y="178"/>
                        </a:lnTo>
                        <a:lnTo>
                          <a:pt x="25" y="176"/>
                        </a:lnTo>
                        <a:lnTo>
                          <a:pt x="29" y="172"/>
                        </a:lnTo>
                        <a:lnTo>
                          <a:pt x="29" y="169"/>
                        </a:lnTo>
                        <a:lnTo>
                          <a:pt x="28" y="166"/>
                        </a:lnTo>
                        <a:lnTo>
                          <a:pt x="25" y="163"/>
                        </a:lnTo>
                        <a:lnTo>
                          <a:pt x="24" y="160"/>
                        </a:lnTo>
                        <a:lnTo>
                          <a:pt x="16" y="153"/>
                        </a:lnTo>
                        <a:lnTo>
                          <a:pt x="24" y="153"/>
                        </a:lnTo>
                        <a:lnTo>
                          <a:pt x="28" y="154"/>
                        </a:lnTo>
                        <a:lnTo>
                          <a:pt x="31" y="156"/>
                        </a:lnTo>
                        <a:lnTo>
                          <a:pt x="34" y="156"/>
                        </a:lnTo>
                        <a:lnTo>
                          <a:pt x="35" y="157"/>
                        </a:lnTo>
                        <a:lnTo>
                          <a:pt x="37" y="157"/>
                        </a:lnTo>
                        <a:lnTo>
                          <a:pt x="43" y="154"/>
                        </a:lnTo>
                        <a:lnTo>
                          <a:pt x="47" y="150"/>
                        </a:lnTo>
                        <a:lnTo>
                          <a:pt x="40" y="142"/>
                        </a:lnTo>
                        <a:lnTo>
                          <a:pt x="38" y="138"/>
                        </a:lnTo>
                        <a:lnTo>
                          <a:pt x="37" y="136"/>
                        </a:lnTo>
                        <a:lnTo>
                          <a:pt x="37" y="131"/>
                        </a:lnTo>
                        <a:lnTo>
                          <a:pt x="40" y="125"/>
                        </a:lnTo>
                        <a:lnTo>
                          <a:pt x="43" y="122"/>
                        </a:lnTo>
                        <a:lnTo>
                          <a:pt x="44" y="119"/>
                        </a:lnTo>
                        <a:lnTo>
                          <a:pt x="46" y="117"/>
                        </a:lnTo>
                        <a:lnTo>
                          <a:pt x="46" y="116"/>
                        </a:lnTo>
                        <a:lnTo>
                          <a:pt x="38" y="110"/>
                        </a:lnTo>
                        <a:lnTo>
                          <a:pt x="38" y="102"/>
                        </a:lnTo>
                        <a:lnTo>
                          <a:pt x="31" y="102"/>
                        </a:lnTo>
                        <a:lnTo>
                          <a:pt x="28" y="99"/>
                        </a:lnTo>
                        <a:lnTo>
                          <a:pt x="28" y="85"/>
                        </a:lnTo>
                        <a:lnTo>
                          <a:pt x="50" y="85"/>
                        </a:lnTo>
                        <a:lnTo>
                          <a:pt x="50" y="70"/>
                        </a:lnTo>
                        <a:lnTo>
                          <a:pt x="53" y="67"/>
                        </a:lnTo>
                        <a:lnTo>
                          <a:pt x="53" y="65"/>
                        </a:lnTo>
                        <a:lnTo>
                          <a:pt x="55" y="64"/>
                        </a:lnTo>
                        <a:lnTo>
                          <a:pt x="53" y="63"/>
                        </a:lnTo>
                        <a:lnTo>
                          <a:pt x="50" y="63"/>
                        </a:lnTo>
                        <a:lnTo>
                          <a:pt x="47" y="61"/>
                        </a:lnTo>
                        <a:lnTo>
                          <a:pt x="46" y="61"/>
                        </a:lnTo>
                        <a:lnTo>
                          <a:pt x="43" y="63"/>
                        </a:lnTo>
                        <a:lnTo>
                          <a:pt x="41" y="65"/>
                        </a:lnTo>
                        <a:lnTo>
                          <a:pt x="38" y="70"/>
                        </a:lnTo>
                        <a:lnTo>
                          <a:pt x="21" y="61"/>
                        </a:lnTo>
                        <a:lnTo>
                          <a:pt x="0" y="58"/>
                        </a:lnTo>
                        <a:lnTo>
                          <a:pt x="0" y="48"/>
                        </a:lnTo>
                        <a:lnTo>
                          <a:pt x="3" y="39"/>
                        </a:lnTo>
                        <a:lnTo>
                          <a:pt x="4" y="36"/>
                        </a:lnTo>
                        <a:lnTo>
                          <a:pt x="6" y="34"/>
                        </a:lnTo>
                        <a:lnTo>
                          <a:pt x="6" y="33"/>
                        </a:lnTo>
                        <a:lnTo>
                          <a:pt x="1" y="29"/>
                        </a:lnTo>
                        <a:lnTo>
                          <a:pt x="3" y="14"/>
                        </a:lnTo>
                        <a:lnTo>
                          <a:pt x="12" y="12"/>
                        </a:lnTo>
                        <a:lnTo>
                          <a:pt x="18" y="12"/>
                        </a:lnTo>
                        <a:lnTo>
                          <a:pt x="19" y="9"/>
                        </a:lnTo>
                        <a:lnTo>
                          <a:pt x="25" y="6"/>
                        </a:lnTo>
                        <a:lnTo>
                          <a:pt x="28" y="6"/>
                        </a:lnTo>
                        <a:lnTo>
                          <a:pt x="32" y="5"/>
                        </a:lnTo>
                        <a:lnTo>
                          <a:pt x="35" y="5"/>
                        </a:lnTo>
                        <a:lnTo>
                          <a:pt x="38" y="2"/>
                        </a:lnTo>
                        <a:lnTo>
                          <a:pt x="41" y="3"/>
                        </a:lnTo>
                        <a:lnTo>
                          <a:pt x="50" y="12"/>
                        </a:lnTo>
                        <a:lnTo>
                          <a:pt x="50" y="17"/>
                        </a:lnTo>
                        <a:lnTo>
                          <a:pt x="59" y="17"/>
                        </a:lnTo>
                        <a:lnTo>
                          <a:pt x="62" y="18"/>
                        </a:lnTo>
                        <a:lnTo>
                          <a:pt x="65" y="18"/>
                        </a:lnTo>
                        <a:lnTo>
                          <a:pt x="68" y="17"/>
                        </a:lnTo>
                        <a:lnTo>
                          <a:pt x="69" y="15"/>
                        </a:lnTo>
                        <a:lnTo>
                          <a:pt x="72" y="14"/>
                        </a:lnTo>
                        <a:lnTo>
                          <a:pt x="77" y="12"/>
                        </a:lnTo>
                        <a:lnTo>
                          <a:pt x="81" y="12"/>
                        </a:lnTo>
                        <a:lnTo>
                          <a:pt x="84" y="11"/>
                        </a:lnTo>
                        <a:lnTo>
                          <a:pt x="86" y="11"/>
                        </a:lnTo>
                        <a:lnTo>
                          <a:pt x="89" y="8"/>
                        </a:lnTo>
                        <a:lnTo>
                          <a:pt x="90" y="8"/>
                        </a:lnTo>
                        <a:lnTo>
                          <a:pt x="93" y="6"/>
                        </a:lnTo>
                        <a:lnTo>
                          <a:pt x="98" y="8"/>
                        </a:lnTo>
                        <a:lnTo>
                          <a:pt x="99" y="8"/>
                        </a:lnTo>
                        <a:lnTo>
                          <a:pt x="100" y="6"/>
                        </a:lnTo>
                        <a:lnTo>
                          <a:pt x="103" y="5"/>
                        </a:lnTo>
                        <a:lnTo>
                          <a:pt x="105" y="5"/>
                        </a:lnTo>
                        <a:lnTo>
                          <a:pt x="108" y="3"/>
                        </a:lnTo>
                        <a:lnTo>
                          <a:pt x="114" y="3"/>
                        </a:lnTo>
                        <a:lnTo>
                          <a:pt x="117" y="6"/>
                        </a:lnTo>
                        <a:lnTo>
                          <a:pt x="127"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4" name="Freeform 263" descr="© INSCALE GmbH, 21.06.2010"/>
                  <p:cNvSpPr>
                    <a:spLocks noChangeAspect="1"/>
                  </p:cNvSpPr>
                  <p:nvPr/>
                </p:nvSpPr>
                <p:spPr bwMode="auto">
                  <a:xfrm>
                    <a:off x="3270830" y="3867948"/>
                    <a:ext cx="88779" cy="66584"/>
                  </a:xfrm>
                  <a:custGeom>
                    <a:avLst/>
                    <a:gdLst>
                      <a:gd name="T0" fmla="*/ 2147483646 w 91"/>
                      <a:gd name="T1" fmla="*/ 0 h 71"/>
                      <a:gd name="T2" fmla="*/ 2147483646 w 91"/>
                      <a:gd name="T3" fmla="*/ 0 h 71"/>
                      <a:gd name="T4" fmla="*/ 2147483646 w 91"/>
                      <a:gd name="T5" fmla="*/ 2147483646 h 71"/>
                      <a:gd name="T6" fmla="*/ 2147483646 w 91"/>
                      <a:gd name="T7" fmla="*/ 2147483646 h 71"/>
                      <a:gd name="T8" fmla="*/ 2147483646 w 91"/>
                      <a:gd name="T9" fmla="*/ 2147483646 h 71"/>
                      <a:gd name="T10" fmla="*/ 2147483646 w 91"/>
                      <a:gd name="T11" fmla="*/ 2147483646 h 71"/>
                      <a:gd name="T12" fmla="*/ 2147483646 w 91"/>
                      <a:gd name="T13" fmla="*/ 2147483646 h 71"/>
                      <a:gd name="T14" fmla="*/ 2147483646 w 91"/>
                      <a:gd name="T15" fmla="*/ 2147483646 h 71"/>
                      <a:gd name="T16" fmla="*/ 2147483646 w 91"/>
                      <a:gd name="T17" fmla="*/ 2147483646 h 71"/>
                      <a:gd name="T18" fmla="*/ 2147483646 w 91"/>
                      <a:gd name="T19" fmla="*/ 2147483646 h 71"/>
                      <a:gd name="T20" fmla="*/ 2147483646 w 91"/>
                      <a:gd name="T21" fmla="*/ 2147483646 h 71"/>
                      <a:gd name="T22" fmla="*/ 2147483646 w 91"/>
                      <a:gd name="T23" fmla="*/ 2147483646 h 71"/>
                      <a:gd name="T24" fmla="*/ 2147483646 w 91"/>
                      <a:gd name="T25" fmla="*/ 2147483646 h 71"/>
                      <a:gd name="T26" fmla="*/ 2147483646 w 91"/>
                      <a:gd name="T27" fmla="*/ 2147483646 h 71"/>
                      <a:gd name="T28" fmla="*/ 2147483646 w 91"/>
                      <a:gd name="T29" fmla="*/ 2147483646 h 71"/>
                      <a:gd name="T30" fmla="*/ 2147483646 w 91"/>
                      <a:gd name="T31" fmla="*/ 2147483646 h 71"/>
                      <a:gd name="T32" fmla="*/ 2147483646 w 91"/>
                      <a:gd name="T33" fmla="*/ 2147483646 h 71"/>
                      <a:gd name="T34" fmla="*/ 2147483646 w 91"/>
                      <a:gd name="T35" fmla="*/ 2147483646 h 71"/>
                      <a:gd name="T36" fmla="*/ 2147483646 w 91"/>
                      <a:gd name="T37" fmla="*/ 2147483646 h 71"/>
                      <a:gd name="T38" fmla="*/ 2147483646 w 91"/>
                      <a:gd name="T39" fmla="*/ 2147483646 h 71"/>
                      <a:gd name="T40" fmla="*/ 2147483646 w 91"/>
                      <a:gd name="T41" fmla="*/ 2147483646 h 71"/>
                      <a:gd name="T42" fmla="*/ 2147483646 w 91"/>
                      <a:gd name="T43" fmla="*/ 2147483646 h 71"/>
                      <a:gd name="T44" fmla="*/ 2147483646 w 91"/>
                      <a:gd name="T45" fmla="*/ 2147483646 h 71"/>
                      <a:gd name="T46" fmla="*/ 2147483646 w 91"/>
                      <a:gd name="T47" fmla="*/ 2147483646 h 71"/>
                      <a:gd name="T48" fmla="*/ 2147483646 w 91"/>
                      <a:gd name="T49" fmla="*/ 2147483646 h 71"/>
                      <a:gd name="T50" fmla="*/ 2147483646 w 91"/>
                      <a:gd name="T51" fmla="*/ 2147483646 h 71"/>
                      <a:gd name="T52" fmla="*/ 2147483646 w 91"/>
                      <a:gd name="T53" fmla="*/ 2147483646 h 71"/>
                      <a:gd name="T54" fmla="*/ 2147483646 w 91"/>
                      <a:gd name="T55" fmla="*/ 2147483646 h 71"/>
                      <a:gd name="T56" fmla="*/ 2147483646 w 91"/>
                      <a:gd name="T57" fmla="*/ 2147483646 h 71"/>
                      <a:gd name="T58" fmla="*/ 2147483646 w 91"/>
                      <a:gd name="T59" fmla="*/ 2147483646 h 71"/>
                      <a:gd name="T60" fmla="*/ 2147483646 w 91"/>
                      <a:gd name="T61" fmla="*/ 2147483646 h 71"/>
                      <a:gd name="T62" fmla="*/ 2147483646 w 91"/>
                      <a:gd name="T63" fmla="*/ 2147483646 h 71"/>
                      <a:gd name="T64" fmla="*/ 2147483646 w 91"/>
                      <a:gd name="T65" fmla="*/ 2147483646 h 71"/>
                      <a:gd name="T66" fmla="*/ 2147483646 w 91"/>
                      <a:gd name="T67" fmla="*/ 2147483646 h 71"/>
                      <a:gd name="T68" fmla="*/ 2147483646 w 91"/>
                      <a:gd name="T69" fmla="*/ 2147483646 h 71"/>
                      <a:gd name="T70" fmla="*/ 2147483646 w 91"/>
                      <a:gd name="T71" fmla="*/ 2147483646 h 71"/>
                      <a:gd name="T72" fmla="*/ 2147483646 w 91"/>
                      <a:gd name="T73" fmla="*/ 2147483646 h 71"/>
                      <a:gd name="T74" fmla="*/ 2147483646 w 91"/>
                      <a:gd name="T75" fmla="*/ 2147483646 h 71"/>
                      <a:gd name="T76" fmla="*/ 2147483646 w 91"/>
                      <a:gd name="T77" fmla="*/ 2147483646 h 71"/>
                      <a:gd name="T78" fmla="*/ 2147483646 w 91"/>
                      <a:gd name="T79" fmla="*/ 2147483646 h 71"/>
                      <a:gd name="T80" fmla="*/ 2147483646 w 91"/>
                      <a:gd name="T81" fmla="*/ 2147483646 h 71"/>
                      <a:gd name="T82" fmla="*/ 2147483646 w 91"/>
                      <a:gd name="T83" fmla="*/ 2147483646 h 71"/>
                      <a:gd name="T84" fmla="*/ 2147483646 w 91"/>
                      <a:gd name="T85" fmla="*/ 2147483646 h 71"/>
                      <a:gd name="T86" fmla="*/ 0 w 91"/>
                      <a:gd name="T87" fmla="*/ 2147483646 h 71"/>
                      <a:gd name="T88" fmla="*/ 0 w 91"/>
                      <a:gd name="T89" fmla="*/ 2147483646 h 71"/>
                      <a:gd name="T90" fmla="*/ 2147483646 w 91"/>
                      <a:gd name="T91" fmla="*/ 2147483646 h 71"/>
                      <a:gd name="T92" fmla="*/ 2147483646 w 91"/>
                      <a:gd name="T93" fmla="*/ 2147483646 h 71"/>
                      <a:gd name="T94" fmla="*/ 2147483646 w 91"/>
                      <a:gd name="T95" fmla="*/ 2147483646 h 71"/>
                      <a:gd name="T96" fmla="*/ 2147483646 w 91"/>
                      <a:gd name="T97" fmla="*/ 2147483646 h 71"/>
                      <a:gd name="T98" fmla="*/ 2147483646 w 91"/>
                      <a:gd name="T99" fmla="*/ 2147483646 h 71"/>
                      <a:gd name="T100" fmla="*/ 2147483646 w 91"/>
                      <a:gd name="T101" fmla="*/ 2147483646 h 71"/>
                      <a:gd name="T102" fmla="*/ 2147483646 w 91"/>
                      <a:gd name="T103" fmla="*/ 2147483646 h 71"/>
                      <a:gd name="T104" fmla="*/ 2147483646 w 91"/>
                      <a:gd name="T105" fmla="*/ 2147483646 h 71"/>
                      <a:gd name="T106" fmla="*/ 2147483646 w 91"/>
                      <a:gd name="T107" fmla="*/ 2147483646 h 71"/>
                      <a:gd name="T108" fmla="*/ 2147483646 w 91"/>
                      <a:gd name="T109" fmla="*/ 2147483646 h 71"/>
                      <a:gd name="T110" fmla="*/ 2147483646 w 91"/>
                      <a:gd name="T111" fmla="*/ 2147483646 h 71"/>
                      <a:gd name="T112" fmla="*/ 2147483646 w 91"/>
                      <a:gd name="T113" fmla="*/ 0 h 7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1"/>
                      <a:gd name="T172" fmla="*/ 0 h 71"/>
                      <a:gd name="T173" fmla="*/ 91 w 91"/>
                      <a:gd name="T174" fmla="*/ 71 h 7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1" h="71">
                        <a:moveTo>
                          <a:pt x="60" y="0"/>
                        </a:moveTo>
                        <a:lnTo>
                          <a:pt x="68" y="0"/>
                        </a:lnTo>
                        <a:lnTo>
                          <a:pt x="74" y="3"/>
                        </a:lnTo>
                        <a:lnTo>
                          <a:pt x="77" y="3"/>
                        </a:lnTo>
                        <a:lnTo>
                          <a:pt x="78" y="4"/>
                        </a:lnTo>
                        <a:lnTo>
                          <a:pt x="75" y="13"/>
                        </a:lnTo>
                        <a:lnTo>
                          <a:pt x="80" y="13"/>
                        </a:lnTo>
                        <a:lnTo>
                          <a:pt x="81" y="15"/>
                        </a:lnTo>
                        <a:lnTo>
                          <a:pt x="82" y="15"/>
                        </a:lnTo>
                        <a:lnTo>
                          <a:pt x="82" y="23"/>
                        </a:lnTo>
                        <a:lnTo>
                          <a:pt x="84" y="23"/>
                        </a:lnTo>
                        <a:lnTo>
                          <a:pt x="85" y="22"/>
                        </a:lnTo>
                        <a:lnTo>
                          <a:pt x="87" y="22"/>
                        </a:lnTo>
                        <a:lnTo>
                          <a:pt x="90" y="20"/>
                        </a:lnTo>
                        <a:lnTo>
                          <a:pt x="91" y="29"/>
                        </a:lnTo>
                        <a:lnTo>
                          <a:pt x="91" y="40"/>
                        </a:lnTo>
                        <a:lnTo>
                          <a:pt x="90" y="43"/>
                        </a:lnTo>
                        <a:lnTo>
                          <a:pt x="84" y="46"/>
                        </a:lnTo>
                        <a:lnTo>
                          <a:pt x="78" y="47"/>
                        </a:lnTo>
                        <a:lnTo>
                          <a:pt x="74" y="49"/>
                        </a:lnTo>
                        <a:lnTo>
                          <a:pt x="69" y="49"/>
                        </a:lnTo>
                        <a:lnTo>
                          <a:pt x="69" y="50"/>
                        </a:lnTo>
                        <a:lnTo>
                          <a:pt x="68" y="51"/>
                        </a:lnTo>
                        <a:lnTo>
                          <a:pt x="66" y="54"/>
                        </a:lnTo>
                        <a:lnTo>
                          <a:pt x="63" y="57"/>
                        </a:lnTo>
                        <a:lnTo>
                          <a:pt x="62" y="62"/>
                        </a:lnTo>
                        <a:lnTo>
                          <a:pt x="57" y="65"/>
                        </a:lnTo>
                        <a:lnTo>
                          <a:pt x="54" y="68"/>
                        </a:lnTo>
                        <a:lnTo>
                          <a:pt x="50" y="69"/>
                        </a:lnTo>
                        <a:lnTo>
                          <a:pt x="48" y="71"/>
                        </a:lnTo>
                        <a:lnTo>
                          <a:pt x="44" y="71"/>
                        </a:lnTo>
                        <a:lnTo>
                          <a:pt x="38" y="68"/>
                        </a:lnTo>
                        <a:lnTo>
                          <a:pt x="34" y="66"/>
                        </a:lnTo>
                        <a:lnTo>
                          <a:pt x="25" y="66"/>
                        </a:lnTo>
                        <a:lnTo>
                          <a:pt x="22" y="68"/>
                        </a:lnTo>
                        <a:lnTo>
                          <a:pt x="19" y="68"/>
                        </a:lnTo>
                        <a:lnTo>
                          <a:pt x="10" y="65"/>
                        </a:lnTo>
                        <a:lnTo>
                          <a:pt x="4" y="57"/>
                        </a:lnTo>
                        <a:lnTo>
                          <a:pt x="9" y="51"/>
                        </a:lnTo>
                        <a:lnTo>
                          <a:pt x="4" y="47"/>
                        </a:lnTo>
                        <a:lnTo>
                          <a:pt x="3" y="44"/>
                        </a:lnTo>
                        <a:lnTo>
                          <a:pt x="1" y="43"/>
                        </a:lnTo>
                        <a:lnTo>
                          <a:pt x="1" y="37"/>
                        </a:lnTo>
                        <a:lnTo>
                          <a:pt x="0" y="34"/>
                        </a:lnTo>
                        <a:lnTo>
                          <a:pt x="0" y="25"/>
                        </a:lnTo>
                        <a:lnTo>
                          <a:pt x="11" y="19"/>
                        </a:lnTo>
                        <a:lnTo>
                          <a:pt x="13" y="10"/>
                        </a:lnTo>
                        <a:lnTo>
                          <a:pt x="32" y="10"/>
                        </a:lnTo>
                        <a:lnTo>
                          <a:pt x="32" y="7"/>
                        </a:lnTo>
                        <a:lnTo>
                          <a:pt x="37" y="3"/>
                        </a:lnTo>
                        <a:lnTo>
                          <a:pt x="38" y="4"/>
                        </a:lnTo>
                        <a:lnTo>
                          <a:pt x="41" y="4"/>
                        </a:lnTo>
                        <a:lnTo>
                          <a:pt x="44" y="6"/>
                        </a:lnTo>
                        <a:lnTo>
                          <a:pt x="48" y="6"/>
                        </a:lnTo>
                        <a:lnTo>
                          <a:pt x="54" y="1"/>
                        </a:lnTo>
                        <a:lnTo>
                          <a:pt x="57" y="1"/>
                        </a:lnTo>
                        <a:lnTo>
                          <a:pt x="60" y="0"/>
                        </a:lnTo>
                        <a:close/>
                      </a:path>
                    </a:pathLst>
                  </a:custGeom>
                  <a:solidFill>
                    <a:schemeClr val="accent5">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5" name="Freeform 264" descr="© INSCALE GmbH, 21.06.2010"/>
                  <p:cNvSpPr>
                    <a:spLocks noChangeAspect="1"/>
                  </p:cNvSpPr>
                  <p:nvPr/>
                </p:nvSpPr>
                <p:spPr bwMode="auto">
                  <a:xfrm>
                    <a:off x="3487229" y="3748651"/>
                    <a:ext cx="117910" cy="95715"/>
                  </a:xfrm>
                  <a:custGeom>
                    <a:avLst/>
                    <a:gdLst>
                      <a:gd name="T0" fmla="*/ 2147483646 w 123"/>
                      <a:gd name="T1" fmla="*/ 2147483646 h 99"/>
                      <a:gd name="T2" fmla="*/ 2147483646 w 123"/>
                      <a:gd name="T3" fmla="*/ 2147483646 h 99"/>
                      <a:gd name="T4" fmla="*/ 2147483646 w 123"/>
                      <a:gd name="T5" fmla="*/ 2147483646 h 99"/>
                      <a:gd name="T6" fmla="*/ 2147483646 w 123"/>
                      <a:gd name="T7" fmla="*/ 2147483646 h 99"/>
                      <a:gd name="T8" fmla="*/ 2147483646 w 123"/>
                      <a:gd name="T9" fmla="*/ 2147483646 h 99"/>
                      <a:gd name="T10" fmla="*/ 2147483646 w 123"/>
                      <a:gd name="T11" fmla="*/ 2147483646 h 99"/>
                      <a:gd name="T12" fmla="*/ 2147483646 w 123"/>
                      <a:gd name="T13" fmla="*/ 2147483646 h 99"/>
                      <a:gd name="T14" fmla="*/ 2147483646 w 123"/>
                      <a:gd name="T15" fmla="*/ 2147483646 h 99"/>
                      <a:gd name="T16" fmla="*/ 2147483646 w 123"/>
                      <a:gd name="T17" fmla="*/ 2147483646 h 99"/>
                      <a:gd name="T18" fmla="*/ 2147483646 w 123"/>
                      <a:gd name="T19" fmla="*/ 2147483646 h 99"/>
                      <a:gd name="T20" fmla="*/ 2147483646 w 123"/>
                      <a:gd name="T21" fmla="*/ 2147483646 h 99"/>
                      <a:gd name="T22" fmla="*/ 2147483646 w 123"/>
                      <a:gd name="T23" fmla="*/ 2147483646 h 99"/>
                      <a:gd name="T24" fmla="*/ 2147483646 w 123"/>
                      <a:gd name="T25" fmla="*/ 2147483646 h 99"/>
                      <a:gd name="T26" fmla="*/ 2147483646 w 123"/>
                      <a:gd name="T27" fmla="*/ 2147483646 h 99"/>
                      <a:gd name="T28" fmla="*/ 2147483646 w 123"/>
                      <a:gd name="T29" fmla="*/ 2147483646 h 99"/>
                      <a:gd name="T30" fmla="*/ 2147483646 w 123"/>
                      <a:gd name="T31" fmla="*/ 2147483646 h 99"/>
                      <a:gd name="T32" fmla="*/ 2147483646 w 123"/>
                      <a:gd name="T33" fmla="*/ 2147483646 h 99"/>
                      <a:gd name="T34" fmla="*/ 2147483646 w 123"/>
                      <a:gd name="T35" fmla="*/ 2147483646 h 99"/>
                      <a:gd name="T36" fmla="*/ 2147483646 w 123"/>
                      <a:gd name="T37" fmla="*/ 2147483646 h 99"/>
                      <a:gd name="T38" fmla="*/ 2147483646 w 123"/>
                      <a:gd name="T39" fmla="*/ 2147483646 h 99"/>
                      <a:gd name="T40" fmla="*/ 2147483646 w 123"/>
                      <a:gd name="T41" fmla="*/ 2147483646 h 99"/>
                      <a:gd name="T42" fmla="*/ 2147483646 w 123"/>
                      <a:gd name="T43" fmla="*/ 2147483646 h 99"/>
                      <a:gd name="T44" fmla="*/ 2147483646 w 123"/>
                      <a:gd name="T45" fmla="*/ 2147483646 h 99"/>
                      <a:gd name="T46" fmla="*/ 2147483646 w 123"/>
                      <a:gd name="T47" fmla="*/ 2147483646 h 99"/>
                      <a:gd name="T48" fmla="*/ 2147483646 w 123"/>
                      <a:gd name="T49" fmla="*/ 2147483646 h 99"/>
                      <a:gd name="T50" fmla="*/ 2147483646 w 123"/>
                      <a:gd name="T51" fmla="*/ 2147483646 h 99"/>
                      <a:gd name="T52" fmla="*/ 2147483646 w 123"/>
                      <a:gd name="T53" fmla="*/ 2147483646 h 99"/>
                      <a:gd name="T54" fmla="*/ 2147483646 w 123"/>
                      <a:gd name="T55" fmla="*/ 2147483646 h 99"/>
                      <a:gd name="T56" fmla="*/ 0 w 123"/>
                      <a:gd name="T57" fmla="*/ 2147483646 h 99"/>
                      <a:gd name="T58" fmla="*/ 2147483646 w 123"/>
                      <a:gd name="T59" fmla="*/ 2147483646 h 99"/>
                      <a:gd name="T60" fmla="*/ 2147483646 w 123"/>
                      <a:gd name="T61" fmla="*/ 2147483646 h 99"/>
                      <a:gd name="T62" fmla="*/ 2147483646 w 123"/>
                      <a:gd name="T63" fmla="*/ 2147483646 h 99"/>
                      <a:gd name="T64" fmla="*/ 2147483646 w 123"/>
                      <a:gd name="T65" fmla="*/ 2147483646 h 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3"/>
                      <a:gd name="T100" fmla="*/ 0 h 99"/>
                      <a:gd name="T101" fmla="*/ 123 w 123"/>
                      <a:gd name="T102" fmla="*/ 99 h 9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3" h="99">
                        <a:moveTo>
                          <a:pt x="59" y="0"/>
                        </a:moveTo>
                        <a:lnTo>
                          <a:pt x="61" y="9"/>
                        </a:lnTo>
                        <a:lnTo>
                          <a:pt x="71" y="13"/>
                        </a:lnTo>
                        <a:lnTo>
                          <a:pt x="75" y="9"/>
                        </a:lnTo>
                        <a:lnTo>
                          <a:pt x="81" y="16"/>
                        </a:lnTo>
                        <a:lnTo>
                          <a:pt x="81" y="24"/>
                        </a:lnTo>
                        <a:lnTo>
                          <a:pt x="95" y="24"/>
                        </a:lnTo>
                        <a:lnTo>
                          <a:pt x="98" y="25"/>
                        </a:lnTo>
                        <a:lnTo>
                          <a:pt x="104" y="25"/>
                        </a:lnTo>
                        <a:lnTo>
                          <a:pt x="105" y="27"/>
                        </a:lnTo>
                        <a:lnTo>
                          <a:pt x="106" y="27"/>
                        </a:lnTo>
                        <a:lnTo>
                          <a:pt x="106" y="28"/>
                        </a:lnTo>
                        <a:lnTo>
                          <a:pt x="108" y="30"/>
                        </a:lnTo>
                        <a:lnTo>
                          <a:pt x="111" y="30"/>
                        </a:lnTo>
                        <a:lnTo>
                          <a:pt x="114" y="31"/>
                        </a:lnTo>
                        <a:lnTo>
                          <a:pt x="115" y="34"/>
                        </a:lnTo>
                        <a:lnTo>
                          <a:pt x="118" y="37"/>
                        </a:lnTo>
                        <a:lnTo>
                          <a:pt x="121" y="38"/>
                        </a:lnTo>
                        <a:lnTo>
                          <a:pt x="123" y="40"/>
                        </a:lnTo>
                        <a:lnTo>
                          <a:pt x="123" y="41"/>
                        </a:lnTo>
                        <a:lnTo>
                          <a:pt x="121" y="41"/>
                        </a:lnTo>
                        <a:lnTo>
                          <a:pt x="118" y="43"/>
                        </a:lnTo>
                        <a:lnTo>
                          <a:pt x="114" y="43"/>
                        </a:lnTo>
                        <a:lnTo>
                          <a:pt x="112" y="41"/>
                        </a:lnTo>
                        <a:lnTo>
                          <a:pt x="111" y="41"/>
                        </a:lnTo>
                        <a:lnTo>
                          <a:pt x="108" y="44"/>
                        </a:lnTo>
                        <a:lnTo>
                          <a:pt x="106" y="47"/>
                        </a:lnTo>
                        <a:lnTo>
                          <a:pt x="105" y="52"/>
                        </a:lnTo>
                        <a:lnTo>
                          <a:pt x="104" y="55"/>
                        </a:lnTo>
                        <a:lnTo>
                          <a:pt x="102" y="59"/>
                        </a:lnTo>
                        <a:lnTo>
                          <a:pt x="102" y="62"/>
                        </a:lnTo>
                        <a:lnTo>
                          <a:pt x="98" y="62"/>
                        </a:lnTo>
                        <a:lnTo>
                          <a:pt x="98" y="69"/>
                        </a:lnTo>
                        <a:lnTo>
                          <a:pt x="96" y="71"/>
                        </a:lnTo>
                        <a:lnTo>
                          <a:pt x="93" y="72"/>
                        </a:lnTo>
                        <a:lnTo>
                          <a:pt x="92" y="75"/>
                        </a:lnTo>
                        <a:lnTo>
                          <a:pt x="89" y="77"/>
                        </a:lnTo>
                        <a:lnTo>
                          <a:pt x="87" y="78"/>
                        </a:lnTo>
                        <a:lnTo>
                          <a:pt x="89" y="90"/>
                        </a:lnTo>
                        <a:lnTo>
                          <a:pt x="72" y="90"/>
                        </a:lnTo>
                        <a:lnTo>
                          <a:pt x="71" y="92"/>
                        </a:lnTo>
                        <a:lnTo>
                          <a:pt x="68" y="93"/>
                        </a:lnTo>
                        <a:lnTo>
                          <a:pt x="64" y="95"/>
                        </a:lnTo>
                        <a:lnTo>
                          <a:pt x="58" y="98"/>
                        </a:lnTo>
                        <a:lnTo>
                          <a:pt x="56" y="99"/>
                        </a:lnTo>
                        <a:lnTo>
                          <a:pt x="55" y="99"/>
                        </a:lnTo>
                        <a:lnTo>
                          <a:pt x="49" y="74"/>
                        </a:lnTo>
                        <a:lnTo>
                          <a:pt x="41" y="74"/>
                        </a:lnTo>
                        <a:lnTo>
                          <a:pt x="40" y="72"/>
                        </a:lnTo>
                        <a:lnTo>
                          <a:pt x="37" y="72"/>
                        </a:lnTo>
                        <a:lnTo>
                          <a:pt x="35" y="71"/>
                        </a:lnTo>
                        <a:lnTo>
                          <a:pt x="33" y="69"/>
                        </a:lnTo>
                        <a:lnTo>
                          <a:pt x="18" y="69"/>
                        </a:lnTo>
                        <a:lnTo>
                          <a:pt x="15" y="71"/>
                        </a:lnTo>
                        <a:lnTo>
                          <a:pt x="13" y="74"/>
                        </a:lnTo>
                        <a:lnTo>
                          <a:pt x="12" y="75"/>
                        </a:lnTo>
                        <a:lnTo>
                          <a:pt x="1" y="78"/>
                        </a:lnTo>
                        <a:lnTo>
                          <a:pt x="0" y="47"/>
                        </a:lnTo>
                        <a:lnTo>
                          <a:pt x="18" y="37"/>
                        </a:lnTo>
                        <a:lnTo>
                          <a:pt x="12" y="31"/>
                        </a:lnTo>
                        <a:lnTo>
                          <a:pt x="9" y="25"/>
                        </a:lnTo>
                        <a:lnTo>
                          <a:pt x="7" y="21"/>
                        </a:lnTo>
                        <a:lnTo>
                          <a:pt x="7" y="15"/>
                        </a:lnTo>
                        <a:lnTo>
                          <a:pt x="24" y="1"/>
                        </a:lnTo>
                        <a:lnTo>
                          <a:pt x="31" y="4"/>
                        </a:lnTo>
                        <a:lnTo>
                          <a:pt x="35" y="12"/>
                        </a:lnTo>
                        <a:lnTo>
                          <a:pt x="59" y="0"/>
                        </a:lnTo>
                        <a:close/>
                      </a:path>
                    </a:pathLst>
                  </a:custGeom>
                  <a:solidFill>
                    <a:schemeClr val="accent3">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6" name="Freeform 265" descr="© INSCALE GmbH, 21.06.2010"/>
                  <p:cNvSpPr>
                    <a:spLocks noChangeAspect="1"/>
                  </p:cNvSpPr>
                  <p:nvPr/>
                </p:nvSpPr>
                <p:spPr bwMode="auto">
                  <a:xfrm>
                    <a:off x="3036397" y="3934533"/>
                    <a:ext cx="86005" cy="69359"/>
                  </a:xfrm>
                  <a:custGeom>
                    <a:avLst/>
                    <a:gdLst>
                      <a:gd name="T0" fmla="*/ 2147483646 w 90"/>
                      <a:gd name="T1" fmla="*/ 0 h 73"/>
                      <a:gd name="T2" fmla="*/ 2147483646 w 90"/>
                      <a:gd name="T3" fmla="*/ 0 h 73"/>
                      <a:gd name="T4" fmla="*/ 2147483646 w 90"/>
                      <a:gd name="T5" fmla="*/ 2147483646 h 73"/>
                      <a:gd name="T6" fmla="*/ 2147483646 w 90"/>
                      <a:gd name="T7" fmla="*/ 2147483646 h 73"/>
                      <a:gd name="T8" fmla="*/ 2147483646 w 90"/>
                      <a:gd name="T9" fmla="*/ 0 h 73"/>
                      <a:gd name="T10" fmla="*/ 2147483646 w 90"/>
                      <a:gd name="T11" fmla="*/ 2147483646 h 73"/>
                      <a:gd name="T12" fmla="*/ 2147483646 w 90"/>
                      <a:gd name="T13" fmla="*/ 2147483646 h 73"/>
                      <a:gd name="T14" fmla="*/ 2147483646 w 90"/>
                      <a:gd name="T15" fmla="*/ 2147483646 h 73"/>
                      <a:gd name="T16" fmla="*/ 2147483646 w 90"/>
                      <a:gd name="T17" fmla="*/ 2147483646 h 73"/>
                      <a:gd name="T18" fmla="*/ 2147483646 w 90"/>
                      <a:gd name="T19" fmla="*/ 2147483646 h 73"/>
                      <a:gd name="T20" fmla="*/ 2147483646 w 90"/>
                      <a:gd name="T21" fmla="*/ 2147483646 h 73"/>
                      <a:gd name="T22" fmla="*/ 2147483646 w 90"/>
                      <a:gd name="T23" fmla="*/ 2147483646 h 73"/>
                      <a:gd name="T24" fmla="*/ 2147483646 w 90"/>
                      <a:gd name="T25" fmla="*/ 2147483646 h 73"/>
                      <a:gd name="T26" fmla="*/ 2147483646 w 90"/>
                      <a:gd name="T27" fmla="*/ 2147483646 h 73"/>
                      <a:gd name="T28" fmla="*/ 2147483646 w 90"/>
                      <a:gd name="T29" fmla="*/ 2147483646 h 73"/>
                      <a:gd name="T30" fmla="*/ 2147483646 w 90"/>
                      <a:gd name="T31" fmla="*/ 2147483646 h 73"/>
                      <a:gd name="T32" fmla="*/ 2147483646 w 90"/>
                      <a:gd name="T33" fmla="*/ 2147483646 h 73"/>
                      <a:gd name="T34" fmla="*/ 2147483646 w 90"/>
                      <a:gd name="T35" fmla="*/ 2147483646 h 73"/>
                      <a:gd name="T36" fmla="*/ 2147483646 w 90"/>
                      <a:gd name="T37" fmla="*/ 2147483646 h 73"/>
                      <a:gd name="T38" fmla="*/ 2147483646 w 90"/>
                      <a:gd name="T39" fmla="*/ 2147483646 h 73"/>
                      <a:gd name="T40" fmla="*/ 2147483646 w 90"/>
                      <a:gd name="T41" fmla="*/ 2147483646 h 73"/>
                      <a:gd name="T42" fmla="*/ 2147483646 w 90"/>
                      <a:gd name="T43" fmla="*/ 2147483646 h 73"/>
                      <a:gd name="T44" fmla="*/ 2147483646 w 90"/>
                      <a:gd name="T45" fmla="*/ 2147483646 h 73"/>
                      <a:gd name="T46" fmla="*/ 2147483646 w 90"/>
                      <a:gd name="T47" fmla="*/ 2147483646 h 73"/>
                      <a:gd name="T48" fmla="*/ 2147483646 w 90"/>
                      <a:gd name="T49" fmla="*/ 2147483646 h 73"/>
                      <a:gd name="T50" fmla="*/ 2147483646 w 90"/>
                      <a:gd name="T51" fmla="*/ 2147483646 h 73"/>
                      <a:gd name="T52" fmla="*/ 2147483646 w 90"/>
                      <a:gd name="T53" fmla="*/ 2147483646 h 73"/>
                      <a:gd name="T54" fmla="*/ 2147483646 w 90"/>
                      <a:gd name="T55" fmla="*/ 2147483646 h 73"/>
                      <a:gd name="T56" fmla="*/ 2147483646 w 90"/>
                      <a:gd name="T57" fmla="*/ 2147483646 h 73"/>
                      <a:gd name="T58" fmla="*/ 2147483646 w 90"/>
                      <a:gd name="T59" fmla="*/ 2147483646 h 73"/>
                      <a:gd name="T60" fmla="*/ 2147483646 w 90"/>
                      <a:gd name="T61" fmla="*/ 2147483646 h 73"/>
                      <a:gd name="T62" fmla="*/ 2147483646 w 90"/>
                      <a:gd name="T63" fmla="*/ 2147483646 h 73"/>
                      <a:gd name="T64" fmla="*/ 2147483646 w 90"/>
                      <a:gd name="T65" fmla="*/ 2147483646 h 73"/>
                      <a:gd name="T66" fmla="*/ 2147483646 w 90"/>
                      <a:gd name="T67" fmla="*/ 2147483646 h 73"/>
                      <a:gd name="T68" fmla="*/ 2147483646 w 90"/>
                      <a:gd name="T69" fmla="*/ 2147483646 h 73"/>
                      <a:gd name="T70" fmla="*/ 2147483646 w 90"/>
                      <a:gd name="T71" fmla="*/ 2147483646 h 73"/>
                      <a:gd name="T72" fmla="*/ 2147483646 w 90"/>
                      <a:gd name="T73" fmla="*/ 2147483646 h 73"/>
                      <a:gd name="T74" fmla="*/ 2147483646 w 90"/>
                      <a:gd name="T75" fmla="*/ 2147483646 h 73"/>
                      <a:gd name="T76" fmla="*/ 2147483646 w 90"/>
                      <a:gd name="T77" fmla="*/ 2147483646 h 73"/>
                      <a:gd name="T78" fmla="*/ 2147483646 w 90"/>
                      <a:gd name="T79" fmla="*/ 2147483646 h 73"/>
                      <a:gd name="T80" fmla="*/ 2147483646 w 90"/>
                      <a:gd name="T81" fmla="*/ 2147483646 h 73"/>
                      <a:gd name="T82" fmla="*/ 2147483646 w 90"/>
                      <a:gd name="T83" fmla="*/ 2147483646 h 73"/>
                      <a:gd name="T84" fmla="*/ 2147483646 w 90"/>
                      <a:gd name="T85" fmla="*/ 2147483646 h 73"/>
                      <a:gd name="T86" fmla="*/ 2147483646 w 90"/>
                      <a:gd name="T87" fmla="*/ 2147483646 h 73"/>
                      <a:gd name="T88" fmla="*/ 0 w 90"/>
                      <a:gd name="T89" fmla="*/ 2147483646 h 73"/>
                      <a:gd name="T90" fmla="*/ 0 w 90"/>
                      <a:gd name="T91" fmla="*/ 2147483646 h 73"/>
                      <a:gd name="T92" fmla="*/ 2147483646 w 90"/>
                      <a:gd name="T93" fmla="*/ 0 h 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0"/>
                      <a:gd name="T142" fmla="*/ 0 h 73"/>
                      <a:gd name="T143" fmla="*/ 90 w 90"/>
                      <a:gd name="T144" fmla="*/ 73 h 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0" h="73">
                        <a:moveTo>
                          <a:pt x="3" y="0"/>
                        </a:moveTo>
                        <a:lnTo>
                          <a:pt x="11" y="0"/>
                        </a:lnTo>
                        <a:lnTo>
                          <a:pt x="13" y="2"/>
                        </a:lnTo>
                        <a:lnTo>
                          <a:pt x="14" y="2"/>
                        </a:lnTo>
                        <a:lnTo>
                          <a:pt x="20" y="0"/>
                        </a:lnTo>
                        <a:lnTo>
                          <a:pt x="32" y="8"/>
                        </a:lnTo>
                        <a:lnTo>
                          <a:pt x="57" y="8"/>
                        </a:lnTo>
                        <a:lnTo>
                          <a:pt x="62" y="12"/>
                        </a:lnTo>
                        <a:lnTo>
                          <a:pt x="66" y="12"/>
                        </a:lnTo>
                        <a:lnTo>
                          <a:pt x="69" y="11"/>
                        </a:lnTo>
                        <a:lnTo>
                          <a:pt x="71" y="11"/>
                        </a:lnTo>
                        <a:lnTo>
                          <a:pt x="74" y="9"/>
                        </a:lnTo>
                        <a:lnTo>
                          <a:pt x="74" y="22"/>
                        </a:lnTo>
                        <a:lnTo>
                          <a:pt x="69" y="27"/>
                        </a:lnTo>
                        <a:lnTo>
                          <a:pt x="66" y="28"/>
                        </a:lnTo>
                        <a:lnTo>
                          <a:pt x="66" y="33"/>
                        </a:lnTo>
                        <a:lnTo>
                          <a:pt x="68" y="34"/>
                        </a:lnTo>
                        <a:lnTo>
                          <a:pt x="71" y="36"/>
                        </a:lnTo>
                        <a:lnTo>
                          <a:pt x="72" y="37"/>
                        </a:lnTo>
                        <a:lnTo>
                          <a:pt x="90" y="46"/>
                        </a:lnTo>
                        <a:lnTo>
                          <a:pt x="84" y="46"/>
                        </a:lnTo>
                        <a:lnTo>
                          <a:pt x="79" y="55"/>
                        </a:lnTo>
                        <a:lnTo>
                          <a:pt x="78" y="53"/>
                        </a:lnTo>
                        <a:lnTo>
                          <a:pt x="74" y="53"/>
                        </a:lnTo>
                        <a:lnTo>
                          <a:pt x="65" y="58"/>
                        </a:lnTo>
                        <a:lnTo>
                          <a:pt x="63" y="59"/>
                        </a:lnTo>
                        <a:lnTo>
                          <a:pt x="60" y="61"/>
                        </a:lnTo>
                        <a:lnTo>
                          <a:pt x="53" y="61"/>
                        </a:lnTo>
                        <a:lnTo>
                          <a:pt x="51" y="73"/>
                        </a:lnTo>
                        <a:lnTo>
                          <a:pt x="38" y="71"/>
                        </a:lnTo>
                        <a:lnTo>
                          <a:pt x="26" y="71"/>
                        </a:lnTo>
                        <a:lnTo>
                          <a:pt x="14" y="68"/>
                        </a:lnTo>
                        <a:lnTo>
                          <a:pt x="5" y="68"/>
                        </a:lnTo>
                        <a:lnTo>
                          <a:pt x="4" y="70"/>
                        </a:lnTo>
                        <a:lnTo>
                          <a:pt x="3" y="70"/>
                        </a:lnTo>
                        <a:lnTo>
                          <a:pt x="3" y="68"/>
                        </a:lnTo>
                        <a:lnTo>
                          <a:pt x="1" y="67"/>
                        </a:lnTo>
                        <a:lnTo>
                          <a:pt x="1" y="61"/>
                        </a:lnTo>
                        <a:lnTo>
                          <a:pt x="3" y="59"/>
                        </a:lnTo>
                        <a:lnTo>
                          <a:pt x="5" y="59"/>
                        </a:lnTo>
                        <a:lnTo>
                          <a:pt x="8" y="56"/>
                        </a:lnTo>
                        <a:lnTo>
                          <a:pt x="8" y="37"/>
                        </a:lnTo>
                        <a:lnTo>
                          <a:pt x="5" y="37"/>
                        </a:lnTo>
                        <a:lnTo>
                          <a:pt x="3" y="34"/>
                        </a:lnTo>
                        <a:lnTo>
                          <a:pt x="0" y="33"/>
                        </a:lnTo>
                        <a:lnTo>
                          <a:pt x="0" y="3"/>
                        </a:lnTo>
                        <a:lnTo>
                          <a:pt x="3" y="0"/>
                        </a:lnTo>
                        <a:close/>
                      </a:path>
                    </a:pathLst>
                  </a:custGeom>
                  <a:solidFill>
                    <a:schemeClr val="accent5">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7" name="Freeform 266" descr="© INSCALE GmbH, 21.06.2010"/>
                  <p:cNvSpPr>
                    <a:spLocks noChangeAspect="1"/>
                  </p:cNvSpPr>
                  <p:nvPr/>
                </p:nvSpPr>
                <p:spPr bwMode="auto">
                  <a:xfrm>
                    <a:off x="2972587" y="3687615"/>
                    <a:ext cx="239981" cy="252466"/>
                  </a:xfrm>
                  <a:custGeom>
                    <a:avLst/>
                    <a:gdLst>
                      <a:gd name="T0" fmla="*/ 2147483646 w 251"/>
                      <a:gd name="T1" fmla="*/ 2147483646 h 265"/>
                      <a:gd name="T2" fmla="*/ 2147483646 w 251"/>
                      <a:gd name="T3" fmla="*/ 2147483646 h 265"/>
                      <a:gd name="T4" fmla="*/ 2147483646 w 251"/>
                      <a:gd name="T5" fmla="*/ 2147483646 h 265"/>
                      <a:gd name="T6" fmla="*/ 2147483646 w 251"/>
                      <a:gd name="T7" fmla="*/ 2147483646 h 265"/>
                      <a:gd name="T8" fmla="*/ 2147483646 w 251"/>
                      <a:gd name="T9" fmla="*/ 2147483646 h 265"/>
                      <a:gd name="T10" fmla="*/ 2147483646 w 251"/>
                      <a:gd name="T11" fmla="*/ 2147483646 h 265"/>
                      <a:gd name="T12" fmla="*/ 2147483646 w 251"/>
                      <a:gd name="T13" fmla="*/ 2147483646 h 265"/>
                      <a:gd name="T14" fmla="*/ 2147483646 w 251"/>
                      <a:gd name="T15" fmla="*/ 2147483646 h 265"/>
                      <a:gd name="T16" fmla="*/ 2147483646 w 251"/>
                      <a:gd name="T17" fmla="*/ 2147483646 h 265"/>
                      <a:gd name="T18" fmla="*/ 2147483646 w 251"/>
                      <a:gd name="T19" fmla="*/ 2147483646 h 265"/>
                      <a:gd name="T20" fmla="*/ 2147483646 w 251"/>
                      <a:gd name="T21" fmla="*/ 2147483646 h 265"/>
                      <a:gd name="T22" fmla="*/ 2147483646 w 251"/>
                      <a:gd name="T23" fmla="*/ 2147483646 h 265"/>
                      <a:gd name="T24" fmla="*/ 2147483646 w 251"/>
                      <a:gd name="T25" fmla="*/ 2147483646 h 265"/>
                      <a:gd name="T26" fmla="*/ 2147483646 w 251"/>
                      <a:gd name="T27" fmla="*/ 2147483646 h 265"/>
                      <a:gd name="T28" fmla="*/ 2147483646 w 251"/>
                      <a:gd name="T29" fmla="*/ 2147483646 h 265"/>
                      <a:gd name="T30" fmla="*/ 2147483646 w 251"/>
                      <a:gd name="T31" fmla="*/ 2147483646 h 265"/>
                      <a:gd name="T32" fmla="*/ 2147483646 w 251"/>
                      <a:gd name="T33" fmla="*/ 2147483646 h 265"/>
                      <a:gd name="T34" fmla="*/ 2147483646 w 251"/>
                      <a:gd name="T35" fmla="*/ 2147483646 h 265"/>
                      <a:gd name="T36" fmla="*/ 2147483646 w 251"/>
                      <a:gd name="T37" fmla="*/ 2147483646 h 265"/>
                      <a:gd name="T38" fmla="*/ 2147483646 w 251"/>
                      <a:gd name="T39" fmla="*/ 2147483646 h 265"/>
                      <a:gd name="T40" fmla="*/ 2147483646 w 251"/>
                      <a:gd name="T41" fmla="*/ 2147483646 h 265"/>
                      <a:gd name="T42" fmla="*/ 2147483646 w 251"/>
                      <a:gd name="T43" fmla="*/ 2147483646 h 265"/>
                      <a:gd name="T44" fmla="*/ 2147483646 w 251"/>
                      <a:gd name="T45" fmla="*/ 2147483646 h 265"/>
                      <a:gd name="T46" fmla="*/ 2147483646 w 251"/>
                      <a:gd name="T47" fmla="*/ 2147483646 h 265"/>
                      <a:gd name="T48" fmla="*/ 2147483646 w 251"/>
                      <a:gd name="T49" fmla="*/ 2147483646 h 265"/>
                      <a:gd name="T50" fmla="*/ 2147483646 w 251"/>
                      <a:gd name="T51" fmla="*/ 2147483646 h 265"/>
                      <a:gd name="T52" fmla="*/ 2147483646 w 251"/>
                      <a:gd name="T53" fmla="*/ 2147483646 h 265"/>
                      <a:gd name="T54" fmla="*/ 2147483646 w 251"/>
                      <a:gd name="T55" fmla="*/ 2147483646 h 265"/>
                      <a:gd name="T56" fmla="*/ 2147483646 w 251"/>
                      <a:gd name="T57" fmla="*/ 2147483646 h 265"/>
                      <a:gd name="T58" fmla="*/ 2147483646 w 251"/>
                      <a:gd name="T59" fmla="*/ 2147483646 h 265"/>
                      <a:gd name="T60" fmla="*/ 2147483646 w 251"/>
                      <a:gd name="T61" fmla="*/ 2147483646 h 265"/>
                      <a:gd name="T62" fmla="*/ 2147483646 w 251"/>
                      <a:gd name="T63" fmla="*/ 2147483646 h 265"/>
                      <a:gd name="T64" fmla="*/ 2147483646 w 251"/>
                      <a:gd name="T65" fmla="*/ 2147483646 h 265"/>
                      <a:gd name="T66" fmla="*/ 2147483646 w 251"/>
                      <a:gd name="T67" fmla="*/ 2147483646 h 265"/>
                      <a:gd name="T68" fmla="*/ 2147483646 w 251"/>
                      <a:gd name="T69" fmla="*/ 2147483646 h 265"/>
                      <a:gd name="T70" fmla="*/ 2147483646 w 251"/>
                      <a:gd name="T71" fmla="*/ 2147483646 h 265"/>
                      <a:gd name="T72" fmla="*/ 2147483646 w 251"/>
                      <a:gd name="T73" fmla="*/ 2147483646 h 265"/>
                      <a:gd name="T74" fmla="*/ 2147483646 w 251"/>
                      <a:gd name="T75" fmla="*/ 2147483646 h 265"/>
                      <a:gd name="T76" fmla="*/ 2147483646 w 251"/>
                      <a:gd name="T77" fmla="*/ 2147483646 h 265"/>
                      <a:gd name="T78" fmla="*/ 2147483646 w 251"/>
                      <a:gd name="T79" fmla="*/ 2147483646 h 265"/>
                      <a:gd name="T80" fmla="*/ 2147483646 w 251"/>
                      <a:gd name="T81" fmla="*/ 2147483646 h 265"/>
                      <a:gd name="T82" fmla="*/ 2147483646 w 251"/>
                      <a:gd name="T83" fmla="*/ 2147483646 h 265"/>
                      <a:gd name="T84" fmla="*/ 2147483646 w 251"/>
                      <a:gd name="T85" fmla="*/ 2147483646 h 265"/>
                      <a:gd name="T86" fmla="*/ 2147483646 w 251"/>
                      <a:gd name="T87" fmla="*/ 2147483646 h 265"/>
                      <a:gd name="T88" fmla="*/ 2147483646 w 251"/>
                      <a:gd name="T89" fmla="*/ 2147483646 h 265"/>
                      <a:gd name="T90" fmla="*/ 0 w 251"/>
                      <a:gd name="T91" fmla="*/ 2147483646 h 265"/>
                      <a:gd name="T92" fmla="*/ 2147483646 w 251"/>
                      <a:gd name="T93" fmla="*/ 2147483646 h 265"/>
                      <a:gd name="T94" fmla="*/ 2147483646 w 251"/>
                      <a:gd name="T95" fmla="*/ 2147483646 h 265"/>
                      <a:gd name="T96" fmla="*/ 2147483646 w 251"/>
                      <a:gd name="T97" fmla="*/ 2147483646 h 265"/>
                      <a:gd name="T98" fmla="*/ 2147483646 w 251"/>
                      <a:gd name="T99" fmla="*/ 2147483646 h 265"/>
                      <a:gd name="T100" fmla="*/ 2147483646 w 251"/>
                      <a:gd name="T101" fmla="*/ 2147483646 h 265"/>
                      <a:gd name="T102" fmla="*/ 2147483646 w 251"/>
                      <a:gd name="T103" fmla="*/ 2147483646 h 265"/>
                      <a:gd name="T104" fmla="*/ 2147483646 w 251"/>
                      <a:gd name="T105" fmla="*/ 2147483646 h 265"/>
                      <a:gd name="T106" fmla="*/ 2147483646 w 251"/>
                      <a:gd name="T107" fmla="*/ 2147483646 h 265"/>
                      <a:gd name="T108" fmla="*/ 2147483646 w 251"/>
                      <a:gd name="T109" fmla="*/ 2147483646 h 265"/>
                      <a:gd name="T110" fmla="*/ 2147483646 w 251"/>
                      <a:gd name="T111" fmla="*/ 2147483646 h 265"/>
                      <a:gd name="T112" fmla="*/ 2147483646 w 251"/>
                      <a:gd name="T113" fmla="*/ 2147483646 h 265"/>
                      <a:gd name="T114" fmla="*/ 2147483646 w 251"/>
                      <a:gd name="T115" fmla="*/ 2147483646 h 265"/>
                      <a:gd name="T116" fmla="*/ 2147483646 w 251"/>
                      <a:gd name="T117" fmla="*/ 2147483646 h 265"/>
                      <a:gd name="T118" fmla="*/ 2147483646 w 251"/>
                      <a:gd name="T119" fmla="*/ 2147483646 h 2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1"/>
                      <a:gd name="T181" fmla="*/ 0 h 265"/>
                      <a:gd name="T182" fmla="*/ 251 w 251"/>
                      <a:gd name="T183" fmla="*/ 265 h 2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1" h="265">
                        <a:moveTo>
                          <a:pt x="85" y="0"/>
                        </a:moveTo>
                        <a:lnTo>
                          <a:pt x="92" y="0"/>
                        </a:lnTo>
                        <a:lnTo>
                          <a:pt x="98" y="6"/>
                        </a:lnTo>
                        <a:lnTo>
                          <a:pt x="101" y="7"/>
                        </a:lnTo>
                        <a:lnTo>
                          <a:pt x="104" y="10"/>
                        </a:lnTo>
                        <a:lnTo>
                          <a:pt x="106" y="13"/>
                        </a:lnTo>
                        <a:lnTo>
                          <a:pt x="108" y="15"/>
                        </a:lnTo>
                        <a:lnTo>
                          <a:pt x="111" y="13"/>
                        </a:lnTo>
                        <a:lnTo>
                          <a:pt x="113" y="12"/>
                        </a:lnTo>
                        <a:lnTo>
                          <a:pt x="116" y="12"/>
                        </a:lnTo>
                        <a:lnTo>
                          <a:pt x="117" y="10"/>
                        </a:lnTo>
                        <a:lnTo>
                          <a:pt x="120" y="10"/>
                        </a:lnTo>
                        <a:lnTo>
                          <a:pt x="123" y="13"/>
                        </a:lnTo>
                        <a:lnTo>
                          <a:pt x="126" y="13"/>
                        </a:lnTo>
                        <a:lnTo>
                          <a:pt x="131" y="12"/>
                        </a:lnTo>
                        <a:lnTo>
                          <a:pt x="135" y="12"/>
                        </a:lnTo>
                        <a:lnTo>
                          <a:pt x="138" y="13"/>
                        </a:lnTo>
                        <a:lnTo>
                          <a:pt x="143" y="18"/>
                        </a:lnTo>
                        <a:lnTo>
                          <a:pt x="145" y="22"/>
                        </a:lnTo>
                        <a:lnTo>
                          <a:pt x="147" y="25"/>
                        </a:lnTo>
                        <a:lnTo>
                          <a:pt x="163" y="27"/>
                        </a:lnTo>
                        <a:lnTo>
                          <a:pt x="163" y="31"/>
                        </a:lnTo>
                        <a:lnTo>
                          <a:pt x="177" y="31"/>
                        </a:lnTo>
                        <a:lnTo>
                          <a:pt x="178" y="29"/>
                        </a:lnTo>
                        <a:lnTo>
                          <a:pt x="181" y="29"/>
                        </a:lnTo>
                        <a:lnTo>
                          <a:pt x="185" y="34"/>
                        </a:lnTo>
                        <a:lnTo>
                          <a:pt x="187" y="37"/>
                        </a:lnTo>
                        <a:lnTo>
                          <a:pt x="187" y="44"/>
                        </a:lnTo>
                        <a:lnTo>
                          <a:pt x="188" y="46"/>
                        </a:lnTo>
                        <a:lnTo>
                          <a:pt x="190" y="46"/>
                        </a:lnTo>
                        <a:lnTo>
                          <a:pt x="193" y="47"/>
                        </a:lnTo>
                        <a:lnTo>
                          <a:pt x="200" y="47"/>
                        </a:lnTo>
                        <a:lnTo>
                          <a:pt x="202" y="49"/>
                        </a:lnTo>
                        <a:lnTo>
                          <a:pt x="205" y="49"/>
                        </a:lnTo>
                        <a:lnTo>
                          <a:pt x="206" y="50"/>
                        </a:lnTo>
                        <a:lnTo>
                          <a:pt x="206" y="53"/>
                        </a:lnTo>
                        <a:lnTo>
                          <a:pt x="209" y="56"/>
                        </a:lnTo>
                        <a:lnTo>
                          <a:pt x="212" y="56"/>
                        </a:lnTo>
                        <a:lnTo>
                          <a:pt x="214" y="55"/>
                        </a:lnTo>
                        <a:lnTo>
                          <a:pt x="218" y="55"/>
                        </a:lnTo>
                        <a:lnTo>
                          <a:pt x="219" y="56"/>
                        </a:lnTo>
                        <a:lnTo>
                          <a:pt x="221" y="59"/>
                        </a:lnTo>
                        <a:lnTo>
                          <a:pt x="240" y="50"/>
                        </a:lnTo>
                        <a:lnTo>
                          <a:pt x="240" y="52"/>
                        </a:lnTo>
                        <a:lnTo>
                          <a:pt x="242" y="53"/>
                        </a:lnTo>
                        <a:lnTo>
                          <a:pt x="248" y="65"/>
                        </a:lnTo>
                        <a:lnTo>
                          <a:pt x="251" y="68"/>
                        </a:lnTo>
                        <a:lnTo>
                          <a:pt x="249" y="71"/>
                        </a:lnTo>
                        <a:lnTo>
                          <a:pt x="249" y="74"/>
                        </a:lnTo>
                        <a:lnTo>
                          <a:pt x="246" y="77"/>
                        </a:lnTo>
                        <a:lnTo>
                          <a:pt x="243" y="77"/>
                        </a:lnTo>
                        <a:lnTo>
                          <a:pt x="240" y="80"/>
                        </a:lnTo>
                        <a:lnTo>
                          <a:pt x="240" y="86"/>
                        </a:lnTo>
                        <a:lnTo>
                          <a:pt x="237" y="92"/>
                        </a:lnTo>
                        <a:lnTo>
                          <a:pt x="236" y="93"/>
                        </a:lnTo>
                        <a:lnTo>
                          <a:pt x="234" y="98"/>
                        </a:lnTo>
                        <a:lnTo>
                          <a:pt x="234" y="118"/>
                        </a:lnTo>
                        <a:lnTo>
                          <a:pt x="224" y="121"/>
                        </a:lnTo>
                        <a:lnTo>
                          <a:pt x="222" y="123"/>
                        </a:lnTo>
                        <a:lnTo>
                          <a:pt x="221" y="126"/>
                        </a:lnTo>
                        <a:lnTo>
                          <a:pt x="219" y="127"/>
                        </a:lnTo>
                        <a:lnTo>
                          <a:pt x="218" y="130"/>
                        </a:lnTo>
                        <a:lnTo>
                          <a:pt x="216" y="132"/>
                        </a:lnTo>
                        <a:lnTo>
                          <a:pt x="215" y="134"/>
                        </a:lnTo>
                        <a:lnTo>
                          <a:pt x="215" y="136"/>
                        </a:lnTo>
                        <a:lnTo>
                          <a:pt x="218" y="139"/>
                        </a:lnTo>
                        <a:lnTo>
                          <a:pt x="218" y="142"/>
                        </a:lnTo>
                        <a:lnTo>
                          <a:pt x="216" y="143"/>
                        </a:lnTo>
                        <a:lnTo>
                          <a:pt x="215" y="146"/>
                        </a:lnTo>
                        <a:lnTo>
                          <a:pt x="209" y="149"/>
                        </a:lnTo>
                        <a:lnTo>
                          <a:pt x="208" y="151"/>
                        </a:lnTo>
                        <a:lnTo>
                          <a:pt x="205" y="151"/>
                        </a:lnTo>
                        <a:lnTo>
                          <a:pt x="202" y="152"/>
                        </a:lnTo>
                        <a:lnTo>
                          <a:pt x="200" y="154"/>
                        </a:lnTo>
                        <a:lnTo>
                          <a:pt x="200" y="158"/>
                        </a:lnTo>
                        <a:lnTo>
                          <a:pt x="202" y="160"/>
                        </a:lnTo>
                        <a:lnTo>
                          <a:pt x="199" y="161"/>
                        </a:lnTo>
                        <a:lnTo>
                          <a:pt x="197" y="163"/>
                        </a:lnTo>
                        <a:lnTo>
                          <a:pt x="193" y="164"/>
                        </a:lnTo>
                        <a:lnTo>
                          <a:pt x="188" y="168"/>
                        </a:lnTo>
                        <a:lnTo>
                          <a:pt x="185" y="174"/>
                        </a:lnTo>
                        <a:lnTo>
                          <a:pt x="185" y="177"/>
                        </a:lnTo>
                        <a:lnTo>
                          <a:pt x="177" y="177"/>
                        </a:lnTo>
                        <a:lnTo>
                          <a:pt x="171" y="174"/>
                        </a:lnTo>
                        <a:lnTo>
                          <a:pt x="169" y="171"/>
                        </a:lnTo>
                        <a:lnTo>
                          <a:pt x="166" y="170"/>
                        </a:lnTo>
                        <a:lnTo>
                          <a:pt x="162" y="167"/>
                        </a:lnTo>
                        <a:lnTo>
                          <a:pt x="159" y="166"/>
                        </a:lnTo>
                        <a:lnTo>
                          <a:pt x="154" y="164"/>
                        </a:lnTo>
                        <a:lnTo>
                          <a:pt x="153" y="163"/>
                        </a:lnTo>
                        <a:lnTo>
                          <a:pt x="150" y="161"/>
                        </a:lnTo>
                        <a:lnTo>
                          <a:pt x="150" y="163"/>
                        </a:lnTo>
                        <a:lnTo>
                          <a:pt x="148" y="164"/>
                        </a:lnTo>
                        <a:lnTo>
                          <a:pt x="147" y="167"/>
                        </a:lnTo>
                        <a:lnTo>
                          <a:pt x="145" y="171"/>
                        </a:lnTo>
                        <a:lnTo>
                          <a:pt x="145" y="174"/>
                        </a:lnTo>
                        <a:lnTo>
                          <a:pt x="148" y="180"/>
                        </a:lnTo>
                        <a:lnTo>
                          <a:pt x="151" y="182"/>
                        </a:lnTo>
                        <a:lnTo>
                          <a:pt x="153" y="183"/>
                        </a:lnTo>
                        <a:lnTo>
                          <a:pt x="154" y="183"/>
                        </a:lnTo>
                        <a:lnTo>
                          <a:pt x="151" y="186"/>
                        </a:lnTo>
                        <a:lnTo>
                          <a:pt x="148" y="188"/>
                        </a:lnTo>
                        <a:lnTo>
                          <a:pt x="144" y="191"/>
                        </a:lnTo>
                        <a:lnTo>
                          <a:pt x="135" y="194"/>
                        </a:lnTo>
                        <a:lnTo>
                          <a:pt x="128" y="194"/>
                        </a:lnTo>
                        <a:lnTo>
                          <a:pt x="128" y="201"/>
                        </a:lnTo>
                        <a:lnTo>
                          <a:pt x="129" y="204"/>
                        </a:lnTo>
                        <a:lnTo>
                          <a:pt x="132" y="207"/>
                        </a:lnTo>
                        <a:lnTo>
                          <a:pt x="135" y="208"/>
                        </a:lnTo>
                        <a:lnTo>
                          <a:pt x="138" y="208"/>
                        </a:lnTo>
                        <a:lnTo>
                          <a:pt x="138" y="210"/>
                        </a:lnTo>
                        <a:lnTo>
                          <a:pt x="140" y="211"/>
                        </a:lnTo>
                        <a:lnTo>
                          <a:pt x="140" y="216"/>
                        </a:lnTo>
                        <a:lnTo>
                          <a:pt x="141" y="219"/>
                        </a:lnTo>
                        <a:lnTo>
                          <a:pt x="141" y="223"/>
                        </a:lnTo>
                        <a:lnTo>
                          <a:pt x="143" y="226"/>
                        </a:lnTo>
                        <a:lnTo>
                          <a:pt x="143" y="231"/>
                        </a:lnTo>
                        <a:lnTo>
                          <a:pt x="141" y="234"/>
                        </a:lnTo>
                        <a:lnTo>
                          <a:pt x="141" y="235"/>
                        </a:lnTo>
                        <a:lnTo>
                          <a:pt x="140" y="238"/>
                        </a:lnTo>
                        <a:lnTo>
                          <a:pt x="140" y="241"/>
                        </a:lnTo>
                        <a:lnTo>
                          <a:pt x="138" y="245"/>
                        </a:lnTo>
                        <a:lnTo>
                          <a:pt x="138" y="248"/>
                        </a:lnTo>
                        <a:lnTo>
                          <a:pt x="137" y="251"/>
                        </a:lnTo>
                        <a:lnTo>
                          <a:pt x="137" y="254"/>
                        </a:lnTo>
                        <a:lnTo>
                          <a:pt x="135" y="256"/>
                        </a:lnTo>
                        <a:lnTo>
                          <a:pt x="132" y="253"/>
                        </a:lnTo>
                        <a:lnTo>
                          <a:pt x="123" y="247"/>
                        </a:lnTo>
                        <a:lnTo>
                          <a:pt x="123" y="256"/>
                        </a:lnTo>
                        <a:lnTo>
                          <a:pt x="125" y="257"/>
                        </a:lnTo>
                        <a:lnTo>
                          <a:pt x="125" y="262"/>
                        </a:lnTo>
                        <a:lnTo>
                          <a:pt x="123" y="265"/>
                        </a:lnTo>
                        <a:lnTo>
                          <a:pt x="98" y="265"/>
                        </a:lnTo>
                        <a:lnTo>
                          <a:pt x="86" y="257"/>
                        </a:lnTo>
                        <a:lnTo>
                          <a:pt x="85" y="256"/>
                        </a:lnTo>
                        <a:lnTo>
                          <a:pt x="85" y="248"/>
                        </a:lnTo>
                        <a:lnTo>
                          <a:pt x="83" y="247"/>
                        </a:lnTo>
                        <a:lnTo>
                          <a:pt x="83" y="237"/>
                        </a:lnTo>
                        <a:lnTo>
                          <a:pt x="76" y="229"/>
                        </a:lnTo>
                        <a:lnTo>
                          <a:pt x="76" y="214"/>
                        </a:lnTo>
                        <a:lnTo>
                          <a:pt x="67" y="205"/>
                        </a:lnTo>
                        <a:lnTo>
                          <a:pt x="67" y="204"/>
                        </a:lnTo>
                        <a:lnTo>
                          <a:pt x="66" y="203"/>
                        </a:lnTo>
                        <a:lnTo>
                          <a:pt x="66" y="200"/>
                        </a:lnTo>
                        <a:lnTo>
                          <a:pt x="64" y="197"/>
                        </a:lnTo>
                        <a:lnTo>
                          <a:pt x="58" y="188"/>
                        </a:lnTo>
                        <a:lnTo>
                          <a:pt x="58" y="185"/>
                        </a:lnTo>
                        <a:lnTo>
                          <a:pt x="57" y="180"/>
                        </a:lnTo>
                        <a:lnTo>
                          <a:pt x="57" y="177"/>
                        </a:lnTo>
                        <a:lnTo>
                          <a:pt x="60" y="179"/>
                        </a:lnTo>
                        <a:lnTo>
                          <a:pt x="61" y="180"/>
                        </a:lnTo>
                        <a:lnTo>
                          <a:pt x="64" y="182"/>
                        </a:lnTo>
                        <a:lnTo>
                          <a:pt x="67" y="182"/>
                        </a:lnTo>
                        <a:lnTo>
                          <a:pt x="70" y="179"/>
                        </a:lnTo>
                        <a:lnTo>
                          <a:pt x="70" y="173"/>
                        </a:lnTo>
                        <a:lnTo>
                          <a:pt x="67" y="167"/>
                        </a:lnTo>
                        <a:lnTo>
                          <a:pt x="66" y="166"/>
                        </a:lnTo>
                        <a:lnTo>
                          <a:pt x="66" y="164"/>
                        </a:lnTo>
                        <a:lnTo>
                          <a:pt x="76" y="154"/>
                        </a:lnTo>
                        <a:lnTo>
                          <a:pt x="63" y="154"/>
                        </a:lnTo>
                        <a:lnTo>
                          <a:pt x="55" y="151"/>
                        </a:lnTo>
                        <a:lnTo>
                          <a:pt x="52" y="149"/>
                        </a:lnTo>
                        <a:lnTo>
                          <a:pt x="46" y="149"/>
                        </a:lnTo>
                        <a:lnTo>
                          <a:pt x="42" y="154"/>
                        </a:lnTo>
                        <a:lnTo>
                          <a:pt x="39" y="155"/>
                        </a:lnTo>
                        <a:lnTo>
                          <a:pt x="36" y="155"/>
                        </a:lnTo>
                        <a:lnTo>
                          <a:pt x="33" y="154"/>
                        </a:lnTo>
                        <a:lnTo>
                          <a:pt x="32" y="151"/>
                        </a:lnTo>
                        <a:lnTo>
                          <a:pt x="29" y="149"/>
                        </a:lnTo>
                        <a:lnTo>
                          <a:pt x="30" y="148"/>
                        </a:lnTo>
                        <a:lnTo>
                          <a:pt x="30" y="140"/>
                        </a:lnTo>
                        <a:lnTo>
                          <a:pt x="29" y="136"/>
                        </a:lnTo>
                        <a:lnTo>
                          <a:pt x="21" y="129"/>
                        </a:lnTo>
                        <a:lnTo>
                          <a:pt x="18" y="129"/>
                        </a:lnTo>
                        <a:lnTo>
                          <a:pt x="15" y="132"/>
                        </a:lnTo>
                        <a:lnTo>
                          <a:pt x="14" y="132"/>
                        </a:lnTo>
                        <a:lnTo>
                          <a:pt x="12" y="130"/>
                        </a:lnTo>
                        <a:lnTo>
                          <a:pt x="12" y="127"/>
                        </a:lnTo>
                        <a:lnTo>
                          <a:pt x="14" y="126"/>
                        </a:lnTo>
                        <a:lnTo>
                          <a:pt x="14" y="124"/>
                        </a:lnTo>
                        <a:lnTo>
                          <a:pt x="11" y="121"/>
                        </a:lnTo>
                        <a:lnTo>
                          <a:pt x="2" y="117"/>
                        </a:lnTo>
                        <a:lnTo>
                          <a:pt x="2" y="114"/>
                        </a:lnTo>
                        <a:lnTo>
                          <a:pt x="0" y="111"/>
                        </a:lnTo>
                        <a:lnTo>
                          <a:pt x="0" y="108"/>
                        </a:lnTo>
                        <a:lnTo>
                          <a:pt x="2" y="105"/>
                        </a:lnTo>
                        <a:lnTo>
                          <a:pt x="2" y="103"/>
                        </a:lnTo>
                        <a:lnTo>
                          <a:pt x="3" y="103"/>
                        </a:lnTo>
                        <a:lnTo>
                          <a:pt x="5" y="105"/>
                        </a:lnTo>
                        <a:lnTo>
                          <a:pt x="8" y="106"/>
                        </a:lnTo>
                        <a:lnTo>
                          <a:pt x="14" y="106"/>
                        </a:lnTo>
                        <a:lnTo>
                          <a:pt x="17" y="105"/>
                        </a:lnTo>
                        <a:lnTo>
                          <a:pt x="21" y="103"/>
                        </a:lnTo>
                        <a:lnTo>
                          <a:pt x="23" y="102"/>
                        </a:lnTo>
                        <a:lnTo>
                          <a:pt x="23" y="98"/>
                        </a:lnTo>
                        <a:lnTo>
                          <a:pt x="24" y="95"/>
                        </a:lnTo>
                        <a:lnTo>
                          <a:pt x="26" y="93"/>
                        </a:lnTo>
                        <a:lnTo>
                          <a:pt x="27" y="90"/>
                        </a:lnTo>
                        <a:lnTo>
                          <a:pt x="32" y="86"/>
                        </a:lnTo>
                        <a:lnTo>
                          <a:pt x="32" y="77"/>
                        </a:lnTo>
                        <a:lnTo>
                          <a:pt x="23" y="71"/>
                        </a:lnTo>
                        <a:lnTo>
                          <a:pt x="45" y="46"/>
                        </a:lnTo>
                        <a:lnTo>
                          <a:pt x="45" y="37"/>
                        </a:lnTo>
                        <a:lnTo>
                          <a:pt x="48" y="37"/>
                        </a:lnTo>
                        <a:lnTo>
                          <a:pt x="51" y="40"/>
                        </a:lnTo>
                        <a:lnTo>
                          <a:pt x="51" y="47"/>
                        </a:lnTo>
                        <a:lnTo>
                          <a:pt x="45" y="59"/>
                        </a:lnTo>
                        <a:lnTo>
                          <a:pt x="48" y="62"/>
                        </a:lnTo>
                        <a:lnTo>
                          <a:pt x="51" y="64"/>
                        </a:lnTo>
                        <a:lnTo>
                          <a:pt x="54" y="64"/>
                        </a:lnTo>
                        <a:lnTo>
                          <a:pt x="57" y="65"/>
                        </a:lnTo>
                        <a:lnTo>
                          <a:pt x="61" y="66"/>
                        </a:lnTo>
                        <a:lnTo>
                          <a:pt x="63" y="68"/>
                        </a:lnTo>
                        <a:lnTo>
                          <a:pt x="66" y="69"/>
                        </a:lnTo>
                        <a:lnTo>
                          <a:pt x="67" y="66"/>
                        </a:lnTo>
                        <a:lnTo>
                          <a:pt x="69" y="65"/>
                        </a:lnTo>
                        <a:lnTo>
                          <a:pt x="71" y="64"/>
                        </a:lnTo>
                        <a:lnTo>
                          <a:pt x="73" y="61"/>
                        </a:lnTo>
                        <a:lnTo>
                          <a:pt x="74" y="61"/>
                        </a:lnTo>
                        <a:lnTo>
                          <a:pt x="77" y="58"/>
                        </a:lnTo>
                        <a:lnTo>
                          <a:pt x="77" y="52"/>
                        </a:lnTo>
                        <a:lnTo>
                          <a:pt x="76" y="49"/>
                        </a:lnTo>
                        <a:lnTo>
                          <a:pt x="76" y="38"/>
                        </a:lnTo>
                        <a:lnTo>
                          <a:pt x="77" y="37"/>
                        </a:lnTo>
                        <a:lnTo>
                          <a:pt x="80" y="37"/>
                        </a:lnTo>
                        <a:lnTo>
                          <a:pt x="83" y="35"/>
                        </a:lnTo>
                        <a:lnTo>
                          <a:pt x="85" y="35"/>
                        </a:lnTo>
                        <a:lnTo>
                          <a:pt x="88" y="34"/>
                        </a:lnTo>
                        <a:lnTo>
                          <a:pt x="91" y="34"/>
                        </a:lnTo>
                        <a:lnTo>
                          <a:pt x="92" y="32"/>
                        </a:lnTo>
                        <a:lnTo>
                          <a:pt x="94" y="32"/>
                        </a:lnTo>
                        <a:lnTo>
                          <a:pt x="94" y="31"/>
                        </a:lnTo>
                        <a:lnTo>
                          <a:pt x="92" y="29"/>
                        </a:lnTo>
                        <a:lnTo>
                          <a:pt x="89" y="24"/>
                        </a:lnTo>
                        <a:lnTo>
                          <a:pt x="88" y="19"/>
                        </a:lnTo>
                        <a:lnTo>
                          <a:pt x="85" y="13"/>
                        </a:lnTo>
                        <a:lnTo>
                          <a:pt x="83" y="12"/>
                        </a:lnTo>
                        <a:lnTo>
                          <a:pt x="83" y="10"/>
                        </a:lnTo>
                        <a:lnTo>
                          <a:pt x="80" y="4"/>
                        </a:lnTo>
                        <a:lnTo>
                          <a:pt x="79" y="3"/>
                        </a:lnTo>
                        <a:lnTo>
                          <a:pt x="79" y="1"/>
                        </a:lnTo>
                        <a:lnTo>
                          <a:pt x="82" y="1"/>
                        </a:lnTo>
                        <a:lnTo>
                          <a:pt x="85" y="0"/>
                        </a:lnTo>
                        <a:close/>
                      </a:path>
                    </a:pathLst>
                  </a:custGeom>
                  <a:solidFill>
                    <a:schemeClr val="accent1">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8" name="Freeform 267" descr="© INSCALE GmbH, 21.06.2010"/>
                  <p:cNvSpPr>
                    <a:spLocks noChangeAspect="1"/>
                  </p:cNvSpPr>
                  <p:nvPr/>
                </p:nvSpPr>
                <p:spPr bwMode="auto">
                  <a:xfrm>
                    <a:off x="2961490" y="4022620"/>
                    <a:ext cx="90603" cy="97794"/>
                  </a:xfrm>
                  <a:custGeom>
                    <a:avLst/>
                    <a:gdLst>
                      <a:gd name="T0" fmla="*/ 2147483646 w 93"/>
                      <a:gd name="T1" fmla="*/ 0 h 99"/>
                      <a:gd name="T2" fmla="*/ 2147483646 w 93"/>
                      <a:gd name="T3" fmla="*/ 2147483646 h 99"/>
                      <a:gd name="T4" fmla="*/ 2147483646 w 93"/>
                      <a:gd name="T5" fmla="*/ 2147483646 h 99"/>
                      <a:gd name="T6" fmla="*/ 2147483646 w 93"/>
                      <a:gd name="T7" fmla="*/ 2147483646 h 99"/>
                      <a:gd name="T8" fmla="*/ 2147483646 w 93"/>
                      <a:gd name="T9" fmla="*/ 2147483646 h 99"/>
                      <a:gd name="T10" fmla="*/ 2147483646 w 93"/>
                      <a:gd name="T11" fmla="*/ 2147483646 h 99"/>
                      <a:gd name="T12" fmla="*/ 2147483646 w 93"/>
                      <a:gd name="T13" fmla="*/ 2147483646 h 99"/>
                      <a:gd name="T14" fmla="*/ 2147483646 w 93"/>
                      <a:gd name="T15" fmla="*/ 2147483646 h 99"/>
                      <a:gd name="T16" fmla="*/ 2147483646 w 93"/>
                      <a:gd name="T17" fmla="*/ 2147483646 h 99"/>
                      <a:gd name="T18" fmla="*/ 2147483646 w 93"/>
                      <a:gd name="T19" fmla="*/ 2147483646 h 99"/>
                      <a:gd name="T20" fmla="*/ 2147483646 w 93"/>
                      <a:gd name="T21" fmla="*/ 2147483646 h 99"/>
                      <a:gd name="T22" fmla="*/ 2147483646 w 93"/>
                      <a:gd name="T23" fmla="*/ 2147483646 h 99"/>
                      <a:gd name="T24" fmla="*/ 2147483646 w 93"/>
                      <a:gd name="T25" fmla="*/ 2147483646 h 99"/>
                      <a:gd name="T26" fmla="*/ 2147483646 w 93"/>
                      <a:gd name="T27" fmla="*/ 2147483646 h 99"/>
                      <a:gd name="T28" fmla="*/ 2147483646 w 93"/>
                      <a:gd name="T29" fmla="*/ 2147483646 h 99"/>
                      <a:gd name="T30" fmla="*/ 2147483646 w 93"/>
                      <a:gd name="T31" fmla="*/ 2147483646 h 99"/>
                      <a:gd name="T32" fmla="*/ 2147483646 w 93"/>
                      <a:gd name="T33" fmla="*/ 2147483646 h 99"/>
                      <a:gd name="T34" fmla="*/ 2147483646 w 93"/>
                      <a:gd name="T35" fmla="*/ 2147483646 h 99"/>
                      <a:gd name="T36" fmla="*/ 2147483646 w 93"/>
                      <a:gd name="T37" fmla="*/ 2147483646 h 99"/>
                      <a:gd name="T38" fmla="*/ 2147483646 w 93"/>
                      <a:gd name="T39" fmla="*/ 2147483646 h 99"/>
                      <a:gd name="T40" fmla="*/ 2147483646 w 93"/>
                      <a:gd name="T41" fmla="*/ 2147483646 h 99"/>
                      <a:gd name="T42" fmla="*/ 2147483646 w 93"/>
                      <a:gd name="T43" fmla="*/ 2147483646 h 99"/>
                      <a:gd name="T44" fmla="*/ 2147483646 w 93"/>
                      <a:gd name="T45" fmla="*/ 2147483646 h 99"/>
                      <a:gd name="T46" fmla="*/ 2147483646 w 93"/>
                      <a:gd name="T47" fmla="*/ 2147483646 h 99"/>
                      <a:gd name="T48" fmla="*/ 2147483646 w 93"/>
                      <a:gd name="T49" fmla="*/ 2147483646 h 99"/>
                      <a:gd name="T50" fmla="*/ 2147483646 w 93"/>
                      <a:gd name="T51" fmla="*/ 2147483646 h 99"/>
                      <a:gd name="T52" fmla="*/ 2147483646 w 93"/>
                      <a:gd name="T53" fmla="*/ 2147483646 h 99"/>
                      <a:gd name="T54" fmla="*/ 2147483646 w 93"/>
                      <a:gd name="T55" fmla="*/ 2147483646 h 99"/>
                      <a:gd name="T56" fmla="*/ 2147483646 w 93"/>
                      <a:gd name="T57" fmla="*/ 2147483646 h 99"/>
                      <a:gd name="T58" fmla="*/ 2147483646 w 93"/>
                      <a:gd name="T59" fmla="*/ 2147483646 h 99"/>
                      <a:gd name="T60" fmla="*/ 2147483646 w 93"/>
                      <a:gd name="T61" fmla="*/ 2147483646 h 99"/>
                      <a:gd name="T62" fmla="*/ 2147483646 w 93"/>
                      <a:gd name="T63" fmla="*/ 2147483646 h 99"/>
                      <a:gd name="T64" fmla="*/ 2147483646 w 93"/>
                      <a:gd name="T65" fmla="*/ 2147483646 h 99"/>
                      <a:gd name="T66" fmla="*/ 2147483646 w 93"/>
                      <a:gd name="T67" fmla="*/ 2147483646 h 99"/>
                      <a:gd name="T68" fmla="*/ 2147483646 w 93"/>
                      <a:gd name="T69" fmla="*/ 2147483646 h 99"/>
                      <a:gd name="T70" fmla="*/ 2147483646 w 93"/>
                      <a:gd name="T71" fmla="*/ 2147483646 h 99"/>
                      <a:gd name="T72" fmla="*/ 2147483646 w 93"/>
                      <a:gd name="T73" fmla="*/ 2147483646 h 99"/>
                      <a:gd name="T74" fmla="*/ 2147483646 w 93"/>
                      <a:gd name="T75" fmla="*/ 2147483646 h 99"/>
                      <a:gd name="T76" fmla="*/ 2147483646 w 93"/>
                      <a:gd name="T77" fmla="*/ 2147483646 h 99"/>
                      <a:gd name="T78" fmla="*/ 2147483646 w 93"/>
                      <a:gd name="T79" fmla="*/ 2147483646 h 99"/>
                      <a:gd name="T80" fmla="*/ 2147483646 w 93"/>
                      <a:gd name="T81" fmla="*/ 2147483646 h 99"/>
                      <a:gd name="T82" fmla="*/ 2147483646 w 93"/>
                      <a:gd name="T83" fmla="*/ 2147483646 h 99"/>
                      <a:gd name="T84" fmla="*/ 2147483646 w 93"/>
                      <a:gd name="T85" fmla="*/ 2147483646 h 99"/>
                      <a:gd name="T86" fmla="*/ 2147483646 w 93"/>
                      <a:gd name="T87" fmla="*/ 2147483646 h 99"/>
                      <a:gd name="T88" fmla="*/ 2147483646 w 93"/>
                      <a:gd name="T89" fmla="*/ 2147483646 h 99"/>
                      <a:gd name="T90" fmla="*/ 2147483646 w 93"/>
                      <a:gd name="T91" fmla="*/ 2147483646 h 99"/>
                      <a:gd name="T92" fmla="*/ 2147483646 w 93"/>
                      <a:gd name="T93" fmla="*/ 2147483646 h 99"/>
                      <a:gd name="T94" fmla="*/ 2147483646 w 93"/>
                      <a:gd name="T95" fmla="*/ 2147483646 h 99"/>
                      <a:gd name="T96" fmla="*/ 2147483646 w 93"/>
                      <a:gd name="T97" fmla="*/ 2147483646 h 99"/>
                      <a:gd name="T98" fmla="*/ 2147483646 w 93"/>
                      <a:gd name="T99" fmla="*/ 2147483646 h 99"/>
                      <a:gd name="T100" fmla="*/ 2147483646 w 93"/>
                      <a:gd name="T101" fmla="*/ 2147483646 h 99"/>
                      <a:gd name="T102" fmla="*/ 2147483646 w 93"/>
                      <a:gd name="T103" fmla="*/ 2147483646 h 99"/>
                      <a:gd name="T104" fmla="*/ 2147483646 w 93"/>
                      <a:gd name="T105" fmla="*/ 2147483646 h 99"/>
                      <a:gd name="T106" fmla="*/ 0 w 93"/>
                      <a:gd name="T107" fmla="*/ 2147483646 h 99"/>
                      <a:gd name="T108" fmla="*/ 0 w 93"/>
                      <a:gd name="T109" fmla="*/ 2147483646 h 99"/>
                      <a:gd name="T110" fmla="*/ 2147483646 w 93"/>
                      <a:gd name="T111" fmla="*/ 2147483646 h 99"/>
                      <a:gd name="T112" fmla="*/ 2147483646 w 93"/>
                      <a:gd name="T113" fmla="*/ 2147483646 h 99"/>
                      <a:gd name="T114" fmla="*/ 2147483646 w 93"/>
                      <a:gd name="T115" fmla="*/ 2147483646 h 99"/>
                      <a:gd name="T116" fmla="*/ 2147483646 w 93"/>
                      <a:gd name="T117" fmla="*/ 2147483646 h 99"/>
                      <a:gd name="T118" fmla="*/ 2147483646 w 93"/>
                      <a:gd name="T119" fmla="*/ 2147483646 h 99"/>
                      <a:gd name="T120" fmla="*/ 2147483646 w 93"/>
                      <a:gd name="T121" fmla="*/ 2147483646 h 99"/>
                      <a:gd name="T122" fmla="*/ 2147483646 w 93"/>
                      <a:gd name="T123" fmla="*/ 2147483646 h 99"/>
                      <a:gd name="T124" fmla="*/ 2147483646 w 93"/>
                      <a:gd name="T125" fmla="*/ 0 h 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
                      <a:gd name="T190" fmla="*/ 0 h 99"/>
                      <a:gd name="T191" fmla="*/ 93 w 93"/>
                      <a:gd name="T192" fmla="*/ 99 h 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 h="99">
                        <a:moveTo>
                          <a:pt x="65" y="0"/>
                        </a:moveTo>
                        <a:lnTo>
                          <a:pt x="77" y="8"/>
                        </a:lnTo>
                        <a:lnTo>
                          <a:pt x="90" y="12"/>
                        </a:lnTo>
                        <a:lnTo>
                          <a:pt x="87" y="15"/>
                        </a:lnTo>
                        <a:lnTo>
                          <a:pt x="84" y="15"/>
                        </a:lnTo>
                        <a:lnTo>
                          <a:pt x="82" y="14"/>
                        </a:lnTo>
                        <a:lnTo>
                          <a:pt x="80" y="14"/>
                        </a:lnTo>
                        <a:lnTo>
                          <a:pt x="77" y="12"/>
                        </a:lnTo>
                        <a:lnTo>
                          <a:pt x="77" y="37"/>
                        </a:lnTo>
                        <a:lnTo>
                          <a:pt x="73" y="45"/>
                        </a:lnTo>
                        <a:lnTo>
                          <a:pt x="77" y="49"/>
                        </a:lnTo>
                        <a:lnTo>
                          <a:pt x="86" y="40"/>
                        </a:lnTo>
                        <a:lnTo>
                          <a:pt x="87" y="42"/>
                        </a:lnTo>
                        <a:lnTo>
                          <a:pt x="89" y="45"/>
                        </a:lnTo>
                        <a:lnTo>
                          <a:pt x="89" y="46"/>
                        </a:lnTo>
                        <a:lnTo>
                          <a:pt x="90" y="48"/>
                        </a:lnTo>
                        <a:lnTo>
                          <a:pt x="90" y="49"/>
                        </a:lnTo>
                        <a:lnTo>
                          <a:pt x="89" y="51"/>
                        </a:lnTo>
                        <a:lnTo>
                          <a:pt x="89" y="57"/>
                        </a:lnTo>
                        <a:lnTo>
                          <a:pt x="93" y="61"/>
                        </a:lnTo>
                        <a:lnTo>
                          <a:pt x="93" y="64"/>
                        </a:lnTo>
                        <a:lnTo>
                          <a:pt x="90" y="65"/>
                        </a:lnTo>
                        <a:lnTo>
                          <a:pt x="89" y="65"/>
                        </a:lnTo>
                        <a:lnTo>
                          <a:pt x="87" y="67"/>
                        </a:lnTo>
                        <a:lnTo>
                          <a:pt x="84" y="68"/>
                        </a:lnTo>
                        <a:lnTo>
                          <a:pt x="84" y="67"/>
                        </a:lnTo>
                        <a:lnTo>
                          <a:pt x="82" y="64"/>
                        </a:lnTo>
                        <a:lnTo>
                          <a:pt x="77" y="64"/>
                        </a:lnTo>
                        <a:lnTo>
                          <a:pt x="74" y="65"/>
                        </a:lnTo>
                        <a:lnTo>
                          <a:pt x="70" y="65"/>
                        </a:lnTo>
                        <a:lnTo>
                          <a:pt x="68" y="67"/>
                        </a:lnTo>
                        <a:lnTo>
                          <a:pt x="67" y="67"/>
                        </a:lnTo>
                        <a:lnTo>
                          <a:pt x="71" y="85"/>
                        </a:lnTo>
                        <a:lnTo>
                          <a:pt x="64" y="88"/>
                        </a:lnTo>
                        <a:lnTo>
                          <a:pt x="52" y="83"/>
                        </a:lnTo>
                        <a:lnTo>
                          <a:pt x="52" y="92"/>
                        </a:lnTo>
                        <a:lnTo>
                          <a:pt x="56" y="99"/>
                        </a:lnTo>
                        <a:lnTo>
                          <a:pt x="39" y="99"/>
                        </a:lnTo>
                        <a:lnTo>
                          <a:pt x="36" y="98"/>
                        </a:lnTo>
                        <a:lnTo>
                          <a:pt x="34" y="96"/>
                        </a:lnTo>
                        <a:lnTo>
                          <a:pt x="34" y="92"/>
                        </a:lnTo>
                        <a:lnTo>
                          <a:pt x="33" y="92"/>
                        </a:lnTo>
                        <a:lnTo>
                          <a:pt x="30" y="94"/>
                        </a:lnTo>
                        <a:lnTo>
                          <a:pt x="24" y="94"/>
                        </a:lnTo>
                        <a:lnTo>
                          <a:pt x="21" y="91"/>
                        </a:lnTo>
                        <a:lnTo>
                          <a:pt x="19" y="88"/>
                        </a:lnTo>
                        <a:lnTo>
                          <a:pt x="19" y="85"/>
                        </a:lnTo>
                        <a:lnTo>
                          <a:pt x="18" y="80"/>
                        </a:lnTo>
                        <a:lnTo>
                          <a:pt x="18" y="73"/>
                        </a:lnTo>
                        <a:lnTo>
                          <a:pt x="3" y="55"/>
                        </a:lnTo>
                        <a:lnTo>
                          <a:pt x="3" y="49"/>
                        </a:lnTo>
                        <a:lnTo>
                          <a:pt x="2" y="46"/>
                        </a:lnTo>
                        <a:lnTo>
                          <a:pt x="2" y="45"/>
                        </a:lnTo>
                        <a:lnTo>
                          <a:pt x="0" y="43"/>
                        </a:lnTo>
                        <a:lnTo>
                          <a:pt x="0" y="42"/>
                        </a:lnTo>
                        <a:lnTo>
                          <a:pt x="6" y="37"/>
                        </a:lnTo>
                        <a:lnTo>
                          <a:pt x="8" y="27"/>
                        </a:lnTo>
                        <a:lnTo>
                          <a:pt x="13" y="24"/>
                        </a:lnTo>
                        <a:lnTo>
                          <a:pt x="15" y="11"/>
                        </a:lnTo>
                        <a:lnTo>
                          <a:pt x="25" y="11"/>
                        </a:lnTo>
                        <a:lnTo>
                          <a:pt x="31" y="17"/>
                        </a:lnTo>
                        <a:lnTo>
                          <a:pt x="48" y="17"/>
                        </a:lnTo>
                        <a:lnTo>
                          <a:pt x="65"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89" name="Freeform 268" descr="© INSCALE GmbH, 21.06.2010"/>
                  <p:cNvSpPr>
                    <a:spLocks noChangeAspect="1"/>
                  </p:cNvSpPr>
                  <p:nvPr/>
                </p:nvSpPr>
                <p:spPr bwMode="auto">
                  <a:xfrm>
                    <a:off x="3197310" y="3691777"/>
                    <a:ext cx="209464" cy="180333"/>
                  </a:xfrm>
                  <a:custGeom>
                    <a:avLst/>
                    <a:gdLst>
                      <a:gd name="T0" fmla="*/ 2147483646 w 219"/>
                      <a:gd name="T1" fmla="*/ 2147483646 h 188"/>
                      <a:gd name="T2" fmla="*/ 2147483646 w 219"/>
                      <a:gd name="T3" fmla="*/ 2147483646 h 188"/>
                      <a:gd name="T4" fmla="*/ 2147483646 w 219"/>
                      <a:gd name="T5" fmla="*/ 2147483646 h 188"/>
                      <a:gd name="T6" fmla="*/ 2147483646 w 219"/>
                      <a:gd name="T7" fmla="*/ 2147483646 h 188"/>
                      <a:gd name="T8" fmla="*/ 2147483646 w 219"/>
                      <a:gd name="T9" fmla="*/ 2147483646 h 188"/>
                      <a:gd name="T10" fmla="*/ 2147483646 w 219"/>
                      <a:gd name="T11" fmla="*/ 2147483646 h 188"/>
                      <a:gd name="T12" fmla="*/ 2147483646 w 219"/>
                      <a:gd name="T13" fmla="*/ 2147483646 h 188"/>
                      <a:gd name="T14" fmla="*/ 2147483646 w 219"/>
                      <a:gd name="T15" fmla="*/ 2147483646 h 188"/>
                      <a:gd name="T16" fmla="*/ 2147483646 w 219"/>
                      <a:gd name="T17" fmla="*/ 2147483646 h 188"/>
                      <a:gd name="T18" fmla="*/ 2147483646 w 219"/>
                      <a:gd name="T19" fmla="*/ 2147483646 h 188"/>
                      <a:gd name="T20" fmla="*/ 2147483646 w 219"/>
                      <a:gd name="T21" fmla="*/ 2147483646 h 188"/>
                      <a:gd name="T22" fmla="*/ 2147483646 w 219"/>
                      <a:gd name="T23" fmla="*/ 2147483646 h 188"/>
                      <a:gd name="T24" fmla="*/ 2147483646 w 219"/>
                      <a:gd name="T25" fmla="*/ 2147483646 h 188"/>
                      <a:gd name="T26" fmla="*/ 2147483646 w 219"/>
                      <a:gd name="T27" fmla="*/ 2147483646 h 188"/>
                      <a:gd name="T28" fmla="*/ 2147483646 w 219"/>
                      <a:gd name="T29" fmla="*/ 2147483646 h 188"/>
                      <a:gd name="T30" fmla="*/ 2147483646 w 219"/>
                      <a:gd name="T31" fmla="*/ 2147483646 h 188"/>
                      <a:gd name="T32" fmla="*/ 2147483646 w 219"/>
                      <a:gd name="T33" fmla="*/ 2147483646 h 188"/>
                      <a:gd name="T34" fmla="*/ 2147483646 w 219"/>
                      <a:gd name="T35" fmla="*/ 2147483646 h 188"/>
                      <a:gd name="T36" fmla="*/ 2147483646 w 219"/>
                      <a:gd name="T37" fmla="*/ 2147483646 h 188"/>
                      <a:gd name="T38" fmla="*/ 2147483646 w 219"/>
                      <a:gd name="T39" fmla="*/ 2147483646 h 188"/>
                      <a:gd name="T40" fmla="*/ 2147483646 w 219"/>
                      <a:gd name="T41" fmla="*/ 2147483646 h 188"/>
                      <a:gd name="T42" fmla="*/ 2147483646 w 219"/>
                      <a:gd name="T43" fmla="*/ 2147483646 h 188"/>
                      <a:gd name="T44" fmla="*/ 2147483646 w 219"/>
                      <a:gd name="T45" fmla="*/ 2147483646 h 188"/>
                      <a:gd name="T46" fmla="*/ 2147483646 w 219"/>
                      <a:gd name="T47" fmla="*/ 2147483646 h 188"/>
                      <a:gd name="T48" fmla="*/ 2147483646 w 219"/>
                      <a:gd name="T49" fmla="*/ 2147483646 h 188"/>
                      <a:gd name="T50" fmla="*/ 2147483646 w 219"/>
                      <a:gd name="T51" fmla="*/ 2147483646 h 188"/>
                      <a:gd name="T52" fmla="*/ 2147483646 w 219"/>
                      <a:gd name="T53" fmla="*/ 2147483646 h 188"/>
                      <a:gd name="T54" fmla="*/ 2147483646 w 219"/>
                      <a:gd name="T55" fmla="*/ 2147483646 h 188"/>
                      <a:gd name="T56" fmla="*/ 2147483646 w 219"/>
                      <a:gd name="T57" fmla="*/ 2147483646 h 188"/>
                      <a:gd name="T58" fmla="*/ 2147483646 w 219"/>
                      <a:gd name="T59" fmla="*/ 2147483646 h 188"/>
                      <a:gd name="T60" fmla="*/ 2147483646 w 219"/>
                      <a:gd name="T61" fmla="*/ 2147483646 h 188"/>
                      <a:gd name="T62" fmla="*/ 2147483646 w 219"/>
                      <a:gd name="T63" fmla="*/ 2147483646 h 188"/>
                      <a:gd name="T64" fmla="*/ 2147483646 w 219"/>
                      <a:gd name="T65" fmla="*/ 2147483646 h 188"/>
                      <a:gd name="T66" fmla="*/ 2147483646 w 219"/>
                      <a:gd name="T67" fmla="*/ 2147483646 h 188"/>
                      <a:gd name="T68" fmla="*/ 2147483646 w 219"/>
                      <a:gd name="T69" fmla="*/ 2147483646 h 188"/>
                      <a:gd name="T70" fmla="*/ 2147483646 w 219"/>
                      <a:gd name="T71" fmla="*/ 2147483646 h 188"/>
                      <a:gd name="T72" fmla="*/ 2147483646 w 219"/>
                      <a:gd name="T73" fmla="*/ 2147483646 h 188"/>
                      <a:gd name="T74" fmla="*/ 2147483646 w 219"/>
                      <a:gd name="T75" fmla="*/ 2147483646 h 188"/>
                      <a:gd name="T76" fmla="*/ 2147483646 w 219"/>
                      <a:gd name="T77" fmla="*/ 2147483646 h 188"/>
                      <a:gd name="T78" fmla="*/ 2147483646 w 219"/>
                      <a:gd name="T79" fmla="*/ 2147483646 h 188"/>
                      <a:gd name="T80" fmla="*/ 2147483646 w 219"/>
                      <a:gd name="T81" fmla="*/ 2147483646 h 188"/>
                      <a:gd name="T82" fmla="*/ 2147483646 w 219"/>
                      <a:gd name="T83" fmla="*/ 2147483646 h 188"/>
                      <a:gd name="T84" fmla="*/ 2147483646 w 219"/>
                      <a:gd name="T85" fmla="*/ 2147483646 h 188"/>
                      <a:gd name="T86" fmla="*/ 2147483646 w 219"/>
                      <a:gd name="T87" fmla="*/ 2147483646 h 188"/>
                      <a:gd name="T88" fmla="*/ 2147483646 w 219"/>
                      <a:gd name="T89" fmla="*/ 2147483646 h 188"/>
                      <a:gd name="T90" fmla="*/ 2147483646 w 219"/>
                      <a:gd name="T91" fmla="*/ 2147483646 h 188"/>
                      <a:gd name="T92" fmla="*/ 2147483646 w 219"/>
                      <a:gd name="T93" fmla="*/ 2147483646 h 188"/>
                      <a:gd name="T94" fmla="*/ 2147483646 w 219"/>
                      <a:gd name="T95" fmla="*/ 2147483646 h 188"/>
                      <a:gd name="T96" fmla="*/ 2147483646 w 219"/>
                      <a:gd name="T97" fmla="*/ 2147483646 h 188"/>
                      <a:gd name="T98" fmla="*/ 2147483646 w 219"/>
                      <a:gd name="T99" fmla="*/ 2147483646 h 188"/>
                      <a:gd name="T100" fmla="*/ 2147483646 w 219"/>
                      <a:gd name="T101" fmla="*/ 2147483646 h 1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9"/>
                      <a:gd name="T154" fmla="*/ 0 h 188"/>
                      <a:gd name="T155" fmla="*/ 219 w 219"/>
                      <a:gd name="T156" fmla="*/ 188 h 1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9" h="188">
                        <a:moveTo>
                          <a:pt x="108" y="0"/>
                        </a:moveTo>
                        <a:lnTo>
                          <a:pt x="113" y="0"/>
                        </a:lnTo>
                        <a:lnTo>
                          <a:pt x="116" y="2"/>
                        </a:lnTo>
                        <a:lnTo>
                          <a:pt x="119" y="2"/>
                        </a:lnTo>
                        <a:lnTo>
                          <a:pt x="120" y="3"/>
                        </a:lnTo>
                        <a:lnTo>
                          <a:pt x="122" y="3"/>
                        </a:lnTo>
                        <a:lnTo>
                          <a:pt x="130" y="8"/>
                        </a:lnTo>
                        <a:lnTo>
                          <a:pt x="135" y="11"/>
                        </a:lnTo>
                        <a:lnTo>
                          <a:pt x="138" y="12"/>
                        </a:lnTo>
                        <a:lnTo>
                          <a:pt x="139" y="14"/>
                        </a:lnTo>
                        <a:lnTo>
                          <a:pt x="141" y="14"/>
                        </a:lnTo>
                        <a:lnTo>
                          <a:pt x="144" y="17"/>
                        </a:lnTo>
                        <a:lnTo>
                          <a:pt x="145" y="20"/>
                        </a:lnTo>
                        <a:lnTo>
                          <a:pt x="145" y="31"/>
                        </a:lnTo>
                        <a:lnTo>
                          <a:pt x="144" y="33"/>
                        </a:lnTo>
                        <a:lnTo>
                          <a:pt x="144" y="37"/>
                        </a:lnTo>
                        <a:lnTo>
                          <a:pt x="148" y="46"/>
                        </a:lnTo>
                        <a:lnTo>
                          <a:pt x="151" y="49"/>
                        </a:lnTo>
                        <a:lnTo>
                          <a:pt x="157" y="49"/>
                        </a:lnTo>
                        <a:lnTo>
                          <a:pt x="163" y="52"/>
                        </a:lnTo>
                        <a:lnTo>
                          <a:pt x="166" y="55"/>
                        </a:lnTo>
                        <a:lnTo>
                          <a:pt x="166" y="57"/>
                        </a:lnTo>
                        <a:lnTo>
                          <a:pt x="163" y="62"/>
                        </a:lnTo>
                        <a:lnTo>
                          <a:pt x="160" y="65"/>
                        </a:lnTo>
                        <a:lnTo>
                          <a:pt x="159" y="68"/>
                        </a:lnTo>
                        <a:lnTo>
                          <a:pt x="157" y="70"/>
                        </a:lnTo>
                        <a:lnTo>
                          <a:pt x="157" y="73"/>
                        </a:lnTo>
                        <a:lnTo>
                          <a:pt x="160" y="74"/>
                        </a:lnTo>
                        <a:lnTo>
                          <a:pt x="161" y="76"/>
                        </a:lnTo>
                        <a:lnTo>
                          <a:pt x="166" y="79"/>
                        </a:lnTo>
                        <a:lnTo>
                          <a:pt x="172" y="82"/>
                        </a:lnTo>
                        <a:lnTo>
                          <a:pt x="173" y="83"/>
                        </a:lnTo>
                        <a:lnTo>
                          <a:pt x="173" y="88"/>
                        </a:lnTo>
                        <a:lnTo>
                          <a:pt x="176" y="91"/>
                        </a:lnTo>
                        <a:lnTo>
                          <a:pt x="179" y="91"/>
                        </a:lnTo>
                        <a:lnTo>
                          <a:pt x="184" y="92"/>
                        </a:lnTo>
                        <a:lnTo>
                          <a:pt x="187" y="94"/>
                        </a:lnTo>
                        <a:lnTo>
                          <a:pt x="188" y="95"/>
                        </a:lnTo>
                        <a:lnTo>
                          <a:pt x="190" y="98"/>
                        </a:lnTo>
                        <a:lnTo>
                          <a:pt x="198" y="102"/>
                        </a:lnTo>
                        <a:lnTo>
                          <a:pt x="206" y="102"/>
                        </a:lnTo>
                        <a:lnTo>
                          <a:pt x="209" y="104"/>
                        </a:lnTo>
                        <a:lnTo>
                          <a:pt x="212" y="107"/>
                        </a:lnTo>
                        <a:lnTo>
                          <a:pt x="212" y="110"/>
                        </a:lnTo>
                        <a:lnTo>
                          <a:pt x="215" y="116"/>
                        </a:lnTo>
                        <a:lnTo>
                          <a:pt x="216" y="117"/>
                        </a:lnTo>
                        <a:lnTo>
                          <a:pt x="219" y="123"/>
                        </a:lnTo>
                        <a:lnTo>
                          <a:pt x="219" y="128"/>
                        </a:lnTo>
                        <a:lnTo>
                          <a:pt x="216" y="133"/>
                        </a:lnTo>
                        <a:lnTo>
                          <a:pt x="212" y="136"/>
                        </a:lnTo>
                        <a:lnTo>
                          <a:pt x="209" y="139"/>
                        </a:lnTo>
                        <a:lnTo>
                          <a:pt x="204" y="141"/>
                        </a:lnTo>
                        <a:lnTo>
                          <a:pt x="203" y="142"/>
                        </a:lnTo>
                        <a:lnTo>
                          <a:pt x="201" y="142"/>
                        </a:lnTo>
                        <a:lnTo>
                          <a:pt x="193" y="148"/>
                        </a:lnTo>
                        <a:lnTo>
                          <a:pt x="184" y="148"/>
                        </a:lnTo>
                        <a:lnTo>
                          <a:pt x="182" y="153"/>
                        </a:lnTo>
                        <a:lnTo>
                          <a:pt x="170" y="156"/>
                        </a:lnTo>
                        <a:lnTo>
                          <a:pt x="173" y="163"/>
                        </a:lnTo>
                        <a:lnTo>
                          <a:pt x="173" y="166"/>
                        </a:lnTo>
                        <a:lnTo>
                          <a:pt x="175" y="169"/>
                        </a:lnTo>
                        <a:lnTo>
                          <a:pt x="175" y="176"/>
                        </a:lnTo>
                        <a:lnTo>
                          <a:pt x="176" y="178"/>
                        </a:lnTo>
                        <a:lnTo>
                          <a:pt x="176" y="181"/>
                        </a:lnTo>
                        <a:lnTo>
                          <a:pt x="178" y="182"/>
                        </a:lnTo>
                        <a:lnTo>
                          <a:pt x="173" y="187"/>
                        </a:lnTo>
                        <a:lnTo>
                          <a:pt x="157" y="188"/>
                        </a:lnTo>
                        <a:lnTo>
                          <a:pt x="156" y="187"/>
                        </a:lnTo>
                        <a:lnTo>
                          <a:pt x="153" y="187"/>
                        </a:lnTo>
                        <a:lnTo>
                          <a:pt x="150" y="185"/>
                        </a:lnTo>
                        <a:lnTo>
                          <a:pt x="150" y="172"/>
                        </a:lnTo>
                        <a:lnTo>
                          <a:pt x="148" y="169"/>
                        </a:lnTo>
                        <a:lnTo>
                          <a:pt x="144" y="164"/>
                        </a:lnTo>
                        <a:lnTo>
                          <a:pt x="135" y="160"/>
                        </a:lnTo>
                        <a:lnTo>
                          <a:pt x="130" y="156"/>
                        </a:lnTo>
                        <a:lnTo>
                          <a:pt x="129" y="157"/>
                        </a:lnTo>
                        <a:lnTo>
                          <a:pt x="126" y="159"/>
                        </a:lnTo>
                        <a:lnTo>
                          <a:pt x="124" y="162"/>
                        </a:lnTo>
                        <a:lnTo>
                          <a:pt x="122" y="163"/>
                        </a:lnTo>
                        <a:lnTo>
                          <a:pt x="119" y="163"/>
                        </a:lnTo>
                        <a:lnTo>
                          <a:pt x="116" y="164"/>
                        </a:lnTo>
                        <a:lnTo>
                          <a:pt x="113" y="164"/>
                        </a:lnTo>
                        <a:lnTo>
                          <a:pt x="107" y="167"/>
                        </a:lnTo>
                        <a:lnTo>
                          <a:pt x="95" y="167"/>
                        </a:lnTo>
                        <a:lnTo>
                          <a:pt x="90" y="166"/>
                        </a:lnTo>
                        <a:lnTo>
                          <a:pt x="92" y="163"/>
                        </a:lnTo>
                        <a:lnTo>
                          <a:pt x="92" y="157"/>
                        </a:lnTo>
                        <a:lnTo>
                          <a:pt x="85" y="150"/>
                        </a:lnTo>
                        <a:lnTo>
                          <a:pt x="85" y="148"/>
                        </a:lnTo>
                        <a:lnTo>
                          <a:pt x="83" y="147"/>
                        </a:lnTo>
                        <a:lnTo>
                          <a:pt x="83" y="145"/>
                        </a:lnTo>
                        <a:lnTo>
                          <a:pt x="82" y="142"/>
                        </a:lnTo>
                        <a:lnTo>
                          <a:pt x="79" y="141"/>
                        </a:lnTo>
                        <a:lnTo>
                          <a:pt x="77" y="139"/>
                        </a:lnTo>
                        <a:lnTo>
                          <a:pt x="74" y="141"/>
                        </a:lnTo>
                        <a:lnTo>
                          <a:pt x="73" y="141"/>
                        </a:lnTo>
                        <a:lnTo>
                          <a:pt x="70" y="142"/>
                        </a:lnTo>
                        <a:lnTo>
                          <a:pt x="68" y="144"/>
                        </a:lnTo>
                        <a:lnTo>
                          <a:pt x="67" y="144"/>
                        </a:lnTo>
                        <a:lnTo>
                          <a:pt x="67" y="141"/>
                        </a:lnTo>
                        <a:lnTo>
                          <a:pt x="68" y="138"/>
                        </a:lnTo>
                        <a:lnTo>
                          <a:pt x="68" y="135"/>
                        </a:lnTo>
                        <a:lnTo>
                          <a:pt x="61" y="128"/>
                        </a:lnTo>
                        <a:lnTo>
                          <a:pt x="59" y="128"/>
                        </a:lnTo>
                        <a:lnTo>
                          <a:pt x="58" y="126"/>
                        </a:lnTo>
                        <a:lnTo>
                          <a:pt x="55" y="125"/>
                        </a:lnTo>
                        <a:lnTo>
                          <a:pt x="53" y="123"/>
                        </a:lnTo>
                        <a:lnTo>
                          <a:pt x="52" y="123"/>
                        </a:lnTo>
                        <a:lnTo>
                          <a:pt x="51" y="122"/>
                        </a:lnTo>
                        <a:lnTo>
                          <a:pt x="51" y="120"/>
                        </a:lnTo>
                        <a:lnTo>
                          <a:pt x="48" y="117"/>
                        </a:lnTo>
                        <a:lnTo>
                          <a:pt x="36" y="122"/>
                        </a:lnTo>
                        <a:lnTo>
                          <a:pt x="25" y="119"/>
                        </a:lnTo>
                        <a:lnTo>
                          <a:pt x="12" y="107"/>
                        </a:lnTo>
                        <a:lnTo>
                          <a:pt x="0" y="114"/>
                        </a:lnTo>
                        <a:lnTo>
                          <a:pt x="0" y="94"/>
                        </a:lnTo>
                        <a:lnTo>
                          <a:pt x="2" y="89"/>
                        </a:lnTo>
                        <a:lnTo>
                          <a:pt x="3" y="88"/>
                        </a:lnTo>
                        <a:lnTo>
                          <a:pt x="6" y="82"/>
                        </a:lnTo>
                        <a:lnTo>
                          <a:pt x="6" y="76"/>
                        </a:lnTo>
                        <a:lnTo>
                          <a:pt x="9" y="73"/>
                        </a:lnTo>
                        <a:lnTo>
                          <a:pt x="12" y="73"/>
                        </a:lnTo>
                        <a:lnTo>
                          <a:pt x="15" y="70"/>
                        </a:lnTo>
                        <a:lnTo>
                          <a:pt x="15" y="67"/>
                        </a:lnTo>
                        <a:lnTo>
                          <a:pt x="17" y="64"/>
                        </a:lnTo>
                        <a:lnTo>
                          <a:pt x="14" y="61"/>
                        </a:lnTo>
                        <a:lnTo>
                          <a:pt x="8" y="49"/>
                        </a:lnTo>
                        <a:lnTo>
                          <a:pt x="6" y="48"/>
                        </a:lnTo>
                        <a:lnTo>
                          <a:pt x="6" y="46"/>
                        </a:lnTo>
                        <a:lnTo>
                          <a:pt x="12" y="24"/>
                        </a:lnTo>
                        <a:lnTo>
                          <a:pt x="25" y="28"/>
                        </a:lnTo>
                        <a:lnTo>
                          <a:pt x="25" y="27"/>
                        </a:lnTo>
                        <a:lnTo>
                          <a:pt x="27" y="25"/>
                        </a:lnTo>
                        <a:lnTo>
                          <a:pt x="28" y="23"/>
                        </a:lnTo>
                        <a:lnTo>
                          <a:pt x="30" y="18"/>
                        </a:lnTo>
                        <a:lnTo>
                          <a:pt x="31" y="15"/>
                        </a:lnTo>
                        <a:lnTo>
                          <a:pt x="34" y="12"/>
                        </a:lnTo>
                        <a:lnTo>
                          <a:pt x="45" y="12"/>
                        </a:lnTo>
                        <a:lnTo>
                          <a:pt x="49" y="14"/>
                        </a:lnTo>
                        <a:lnTo>
                          <a:pt x="51" y="14"/>
                        </a:lnTo>
                        <a:lnTo>
                          <a:pt x="52" y="15"/>
                        </a:lnTo>
                        <a:lnTo>
                          <a:pt x="53" y="18"/>
                        </a:lnTo>
                        <a:lnTo>
                          <a:pt x="53" y="21"/>
                        </a:lnTo>
                        <a:lnTo>
                          <a:pt x="55" y="24"/>
                        </a:lnTo>
                        <a:lnTo>
                          <a:pt x="56" y="25"/>
                        </a:lnTo>
                        <a:lnTo>
                          <a:pt x="58" y="25"/>
                        </a:lnTo>
                        <a:lnTo>
                          <a:pt x="61" y="27"/>
                        </a:lnTo>
                        <a:lnTo>
                          <a:pt x="71" y="27"/>
                        </a:lnTo>
                        <a:lnTo>
                          <a:pt x="74" y="25"/>
                        </a:lnTo>
                        <a:lnTo>
                          <a:pt x="79" y="24"/>
                        </a:lnTo>
                        <a:lnTo>
                          <a:pt x="85" y="21"/>
                        </a:lnTo>
                        <a:lnTo>
                          <a:pt x="88" y="21"/>
                        </a:lnTo>
                        <a:lnTo>
                          <a:pt x="104" y="5"/>
                        </a:lnTo>
                        <a:lnTo>
                          <a:pt x="107" y="3"/>
                        </a:lnTo>
                        <a:lnTo>
                          <a:pt x="108"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0" name="Freeform 269" descr="© INSCALE GmbH, 21.06.2010"/>
                  <p:cNvSpPr>
                    <a:spLocks noChangeAspect="1"/>
                  </p:cNvSpPr>
                  <p:nvPr/>
                </p:nvSpPr>
                <p:spPr bwMode="auto">
                  <a:xfrm>
                    <a:off x="3279153" y="3841592"/>
                    <a:ext cx="61036" cy="36067"/>
                  </a:xfrm>
                  <a:custGeom>
                    <a:avLst/>
                    <a:gdLst>
                      <a:gd name="T0" fmla="*/ 2147483646 w 64"/>
                      <a:gd name="T1" fmla="*/ 0 h 38"/>
                      <a:gd name="T2" fmla="*/ 2147483646 w 64"/>
                      <a:gd name="T3" fmla="*/ 2147483646 h 38"/>
                      <a:gd name="T4" fmla="*/ 2147483646 w 64"/>
                      <a:gd name="T5" fmla="*/ 2147483646 h 38"/>
                      <a:gd name="T6" fmla="*/ 2147483646 w 64"/>
                      <a:gd name="T7" fmla="*/ 2147483646 h 38"/>
                      <a:gd name="T8" fmla="*/ 2147483646 w 64"/>
                      <a:gd name="T9" fmla="*/ 2147483646 h 38"/>
                      <a:gd name="T10" fmla="*/ 2147483646 w 64"/>
                      <a:gd name="T11" fmla="*/ 2147483646 h 38"/>
                      <a:gd name="T12" fmla="*/ 2147483646 w 64"/>
                      <a:gd name="T13" fmla="*/ 2147483646 h 38"/>
                      <a:gd name="T14" fmla="*/ 2147483646 w 64"/>
                      <a:gd name="T15" fmla="*/ 2147483646 h 38"/>
                      <a:gd name="T16" fmla="*/ 2147483646 w 64"/>
                      <a:gd name="T17" fmla="*/ 2147483646 h 38"/>
                      <a:gd name="T18" fmla="*/ 2147483646 w 64"/>
                      <a:gd name="T19" fmla="*/ 2147483646 h 38"/>
                      <a:gd name="T20" fmla="*/ 2147483646 w 64"/>
                      <a:gd name="T21" fmla="*/ 2147483646 h 38"/>
                      <a:gd name="T22" fmla="*/ 2147483646 w 64"/>
                      <a:gd name="T23" fmla="*/ 2147483646 h 38"/>
                      <a:gd name="T24" fmla="*/ 2147483646 w 64"/>
                      <a:gd name="T25" fmla="*/ 2147483646 h 38"/>
                      <a:gd name="T26" fmla="*/ 2147483646 w 64"/>
                      <a:gd name="T27" fmla="*/ 2147483646 h 38"/>
                      <a:gd name="T28" fmla="*/ 2147483646 w 64"/>
                      <a:gd name="T29" fmla="*/ 2147483646 h 38"/>
                      <a:gd name="T30" fmla="*/ 2147483646 w 64"/>
                      <a:gd name="T31" fmla="*/ 2147483646 h 38"/>
                      <a:gd name="T32" fmla="*/ 2147483646 w 64"/>
                      <a:gd name="T33" fmla="*/ 2147483646 h 38"/>
                      <a:gd name="T34" fmla="*/ 2147483646 w 64"/>
                      <a:gd name="T35" fmla="*/ 2147483646 h 38"/>
                      <a:gd name="T36" fmla="*/ 0 w 64"/>
                      <a:gd name="T37" fmla="*/ 2147483646 h 38"/>
                      <a:gd name="T38" fmla="*/ 2147483646 w 64"/>
                      <a:gd name="T39" fmla="*/ 2147483646 h 38"/>
                      <a:gd name="T40" fmla="*/ 2147483646 w 64"/>
                      <a:gd name="T41" fmla="*/ 2147483646 h 38"/>
                      <a:gd name="T42" fmla="*/ 2147483646 w 64"/>
                      <a:gd name="T43" fmla="*/ 2147483646 h 38"/>
                      <a:gd name="T44" fmla="*/ 2147483646 w 64"/>
                      <a:gd name="T45" fmla="*/ 2147483646 h 38"/>
                      <a:gd name="T46" fmla="*/ 2147483646 w 64"/>
                      <a:gd name="T47" fmla="*/ 2147483646 h 38"/>
                      <a:gd name="T48" fmla="*/ 2147483646 w 64"/>
                      <a:gd name="T49" fmla="*/ 2147483646 h 38"/>
                      <a:gd name="T50" fmla="*/ 2147483646 w 64"/>
                      <a:gd name="T51" fmla="*/ 2147483646 h 38"/>
                      <a:gd name="T52" fmla="*/ 2147483646 w 64"/>
                      <a:gd name="T53" fmla="*/ 2147483646 h 38"/>
                      <a:gd name="T54" fmla="*/ 2147483646 w 64"/>
                      <a:gd name="T55" fmla="*/ 2147483646 h 38"/>
                      <a:gd name="T56" fmla="*/ 2147483646 w 64"/>
                      <a:gd name="T57" fmla="*/ 2147483646 h 38"/>
                      <a:gd name="T58" fmla="*/ 2147483646 w 64"/>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4"/>
                      <a:gd name="T91" fmla="*/ 0 h 38"/>
                      <a:gd name="T92" fmla="*/ 64 w 64"/>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4" h="38">
                        <a:moveTo>
                          <a:pt x="44" y="0"/>
                        </a:moveTo>
                        <a:lnTo>
                          <a:pt x="49" y="4"/>
                        </a:lnTo>
                        <a:lnTo>
                          <a:pt x="58" y="8"/>
                        </a:lnTo>
                        <a:lnTo>
                          <a:pt x="62" y="13"/>
                        </a:lnTo>
                        <a:lnTo>
                          <a:pt x="64" y="16"/>
                        </a:lnTo>
                        <a:lnTo>
                          <a:pt x="64" y="29"/>
                        </a:lnTo>
                        <a:lnTo>
                          <a:pt x="61" y="28"/>
                        </a:lnTo>
                        <a:lnTo>
                          <a:pt x="53" y="28"/>
                        </a:lnTo>
                        <a:lnTo>
                          <a:pt x="50" y="29"/>
                        </a:lnTo>
                        <a:lnTo>
                          <a:pt x="47" y="29"/>
                        </a:lnTo>
                        <a:lnTo>
                          <a:pt x="41" y="34"/>
                        </a:lnTo>
                        <a:lnTo>
                          <a:pt x="37" y="34"/>
                        </a:lnTo>
                        <a:lnTo>
                          <a:pt x="34" y="32"/>
                        </a:lnTo>
                        <a:lnTo>
                          <a:pt x="31" y="32"/>
                        </a:lnTo>
                        <a:lnTo>
                          <a:pt x="30" y="31"/>
                        </a:lnTo>
                        <a:lnTo>
                          <a:pt x="25" y="35"/>
                        </a:lnTo>
                        <a:lnTo>
                          <a:pt x="25" y="38"/>
                        </a:lnTo>
                        <a:lnTo>
                          <a:pt x="6" y="38"/>
                        </a:lnTo>
                        <a:lnTo>
                          <a:pt x="0" y="16"/>
                        </a:lnTo>
                        <a:lnTo>
                          <a:pt x="4" y="10"/>
                        </a:lnTo>
                        <a:lnTo>
                          <a:pt x="9" y="11"/>
                        </a:lnTo>
                        <a:lnTo>
                          <a:pt x="21" y="11"/>
                        </a:lnTo>
                        <a:lnTo>
                          <a:pt x="27" y="8"/>
                        </a:lnTo>
                        <a:lnTo>
                          <a:pt x="30" y="8"/>
                        </a:lnTo>
                        <a:lnTo>
                          <a:pt x="33" y="7"/>
                        </a:lnTo>
                        <a:lnTo>
                          <a:pt x="36" y="7"/>
                        </a:lnTo>
                        <a:lnTo>
                          <a:pt x="38" y="6"/>
                        </a:lnTo>
                        <a:lnTo>
                          <a:pt x="40" y="3"/>
                        </a:lnTo>
                        <a:lnTo>
                          <a:pt x="43" y="1"/>
                        </a:lnTo>
                        <a:lnTo>
                          <a:pt x="44"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1" name="Freeform 270" descr="© INSCALE GmbH, 21.06.2010"/>
                  <p:cNvSpPr>
                    <a:spLocks noChangeAspect="1"/>
                  </p:cNvSpPr>
                  <p:nvPr/>
                </p:nvSpPr>
                <p:spPr bwMode="auto">
                  <a:xfrm>
                    <a:off x="3158469" y="3897079"/>
                    <a:ext cx="56874" cy="69359"/>
                  </a:xfrm>
                  <a:custGeom>
                    <a:avLst/>
                    <a:gdLst>
                      <a:gd name="T0" fmla="*/ 2147483646 w 59"/>
                      <a:gd name="T1" fmla="*/ 0 h 72"/>
                      <a:gd name="T2" fmla="*/ 2147483646 w 59"/>
                      <a:gd name="T3" fmla="*/ 0 h 72"/>
                      <a:gd name="T4" fmla="*/ 2147483646 w 59"/>
                      <a:gd name="T5" fmla="*/ 2147483646 h 72"/>
                      <a:gd name="T6" fmla="*/ 2147483646 w 59"/>
                      <a:gd name="T7" fmla="*/ 2147483646 h 72"/>
                      <a:gd name="T8" fmla="*/ 2147483646 w 59"/>
                      <a:gd name="T9" fmla="*/ 2147483646 h 72"/>
                      <a:gd name="T10" fmla="*/ 2147483646 w 59"/>
                      <a:gd name="T11" fmla="*/ 2147483646 h 72"/>
                      <a:gd name="T12" fmla="*/ 2147483646 w 59"/>
                      <a:gd name="T13" fmla="*/ 2147483646 h 72"/>
                      <a:gd name="T14" fmla="*/ 2147483646 w 59"/>
                      <a:gd name="T15" fmla="*/ 2147483646 h 72"/>
                      <a:gd name="T16" fmla="*/ 2147483646 w 59"/>
                      <a:gd name="T17" fmla="*/ 2147483646 h 72"/>
                      <a:gd name="T18" fmla="*/ 2147483646 w 59"/>
                      <a:gd name="T19" fmla="*/ 2147483646 h 72"/>
                      <a:gd name="T20" fmla="*/ 2147483646 w 59"/>
                      <a:gd name="T21" fmla="*/ 2147483646 h 72"/>
                      <a:gd name="T22" fmla="*/ 2147483646 w 59"/>
                      <a:gd name="T23" fmla="*/ 2147483646 h 72"/>
                      <a:gd name="T24" fmla="*/ 2147483646 w 59"/>
                      <a:gd name="T25" fmla="*/ 2147483646 h 72"/>
                      <a:gd name="T26" fmla="*/ 2147483646 w 59"/>
                      <a:gd name="T27" fmla="*/ 2147483646 h 72"/>
                      <a:gd name="T28" fmla="*/ 2147483646 w 59"/>
                      <a:gd name="T29" fmla="*/ 2147483646 h 72"/>
                      <a:gd name="T30" fmla="*/ 2147483646 w 59"/>
                      <a:gd name="T31" fmla="*/ 2147483646 h 72"/>
                      <a:gd name="T32" fmla="*/ 2147483646 w 59"/>
                      <a:gd name="T33" fmla="*/ 2147483646 h 72"/>
                      <a:gd name="T34" fmla="*/ 2147483646 w 59"/>
                      <a:gd name="T35" fmla="*/ 2147483646 h 72"/>
                      <a:gd name="T36" fmla="*/ 2147483646 w 59"/>
                      <a:gd name="T37" fmla="*/ 2147483646 h 72"/>
                      <a:gd name="T38" fmla="*/ 2147483646 w 59"/>
                      <a:gd name="T39" fmla="*/ 2147483646 h 72"/>
                      <a:gd name="T40" fmla="*/ 2147483646 w 59"/>
                      <a:gd name="T41" fmla="*/ 2147483646 h 72"/>
                      <a:gd name="T42" fmla="*/ 2147483646 w 59"/>
                      <a:gd name="T43" fmla="*/ 2147483646 h 72"/>
                      <a:gd name="T44" fmla="*/ 2147483646 w 59"/>
                      <a:gd name="T45" fmla="*/ 2147483646 h 72"/>
                      <a:gd name="T46" fmla="*/ 2147483646 w 59"/>
                      <a:gd name="T47" fmla="*/ 2147483646 h 72"/>
                      <a:gd name="T48" fmla="*/ 2147483646 w 59"/>
                      <a:gd name="T49" fmla="*/ 2147483646 h 72"/>
                      <a:gd name="T50" fmla="*/ 2147483646 w 59"/>
                      <a:gd name="T51" fmla="*/ 2147483646 h 72"/>
                      <a:gd name="T52" fmla="*/ 2147483646 w 59"/>
                      <a:gd name="T53" fmla="*/ 2147483646 h 72"/>
                      <a:gd name="T54" fmla="*/ 2147483646 w 59"/>
                      <a:gd name="T55" fmla="*/ 2147483646 h 72"/>
                      <a:gd name="T56" fmla="*/ 2147483646 w 59"/>
                      <a:gd name="T57" fmla="*/ 2147483646 h 72"/>
                      <a:gd name="T58" fmla="*/ 2147483646 w 59"/>
                      <a:gd name="T59" fmla="*/ 2147483646 h 72"/>
                      <a:gd name="T60" fmla="*/ 2147483646 w 59"/>
                      <a:gd name="T61" fmla="*/ 2147483646 h 72"/>
                      <a:gd name="T62" fmla="*/ 2147483646 w 59"/>
                      <a:gd name="T63" fmla="*/ 2147483646 h 72"/>
                      <a:gd name="T64" fmla="*/ 2147483646 w 59"/>
                      <a:gd name="T65" fmla="*/ 2147483646 h 72"/>
                      <a:gd name="T66" fmla="*/ 2147483646 w 59"/>
                      <a:gd name="T67" fmla="*/ 2147483646 h 72"/>
                      <a:gd name="T68" fmla="*/ 0 w 59"/>
                      <a:gd name="T69" fmla="*/ 2147483646 h 72"/>
                      <a:gd name="T70" fmla="*/ 0 w 59"/>
                      <a:gd name="T71" fmla="*/ 2147483646 h 72"/>
                      <a:gd name="T72" fmla="*/ 2147483646 w 59"/>
                      <a:gd name="T73" fmla="*/ 2147483646 h 72"/>
                      <a:gd name="T74" fmla="*/ 2147483646 w 59"/>
                      <a:gd name="T75" fmla="*/ 2147483646 h 72"/>
                      <a:gd name="T76" fmla="*/ 2147483646 w 59"/>
                      <a:gd name="T77" fmla="*/ 2147483646 h 72"/>
                      <a:gd name="T78" fmla="*/ 2147483646 w 59"/>
                      <a:gd name="T79" fmla="*/ 2147483646 h 72"/>
                      <a:gd name="T80" fmla="*/ 2147483646 w 59"/>
                      <a:gd name="T81" fmla="*/ 2147483646 h 72"/>
                      <a:gd name="T82" fmla="*/ 2147483646 w 59"/>
                      <a:gd name="T83" fmla="*/ 2147483646 h 72"/>
                      <a:gd name="T84" fmla="*/ 2147483646 w 59"/>
                      <a:gd name="T85" fmla="*/ 2147483646 h 72"/>
                      <a:gd name="T86" fmla="*/ 2147483646 w 59"/>
                      <a:gd name="T87" fmla="*/ 2147483646 h 72"/>
                      <a:gd name="T88" fmla="*/ 2147483646 w 59"/>
                      <a:gd name="T89" fmla="*/ 2147483646 h 72"/>
                      <a:gd name="T90" fmla="*/ 2147483646 w 59"/>
                      <a:gd name="T91" fmla="*/ 2147483646 h 72"/>
                      <a:gd name="T92" fmla="*/ 2147483646 w 59"/>
                      <a:gd name="T93" fmla="*/ 2147483646 h 72"/>
                      <a:gd name="T94" fmla="*/ 2147483646 w 59"/>
                      <a:gd name="T95" fmla="*/ 2147483646 h 72"/>
                      <a:gd name="T96" fmla="*/ 2147483646 w 59"/>
                      <a:gd name="T97" fmla="*/ 2147483646 h 72"/>
                      <a:gd name="T98" fmla="*/ 2147483646 w 59"/>
                      <a:gd name="T99" fmla="*/ 2147483646 h 72"/>
                      <a:gd name="T100" fmla="*/ 2147483646 w 59"/>
                      <a:gd name="T101" fmla="*/ 2147483646 h 72"/>
                      <a:gd name="T102" fmla="*/ 2147483646 w 59"/>
                      <a:gd name="T103" fmla="*/ 2147483646 h 72"/>
                      <a:gd name="T104" fmla="*/ 2147483646 w 59"/>
                      <a:gd name="T105" fmla="*/ 0 h 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
                      <a:gd name="T160" fmla="*/ 0 h 72"/>
                      <a:gd name="T161" fmla="*/ 59 w 59"/>
                      <a:gd name="T162" fmla="*/ 72 h 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 h="72">
                        <a:moveTo>
                          <a:pt x="33" y="0"/>
                        </a:moveTo>
                        <a:lnTo>
                          <a:pt x="36" y="0"/>
                        </a:lnTo>
                        <a:lnTo>
                          <a:pt x="43" y="7"/>
                        </a:lnTo>
                        <a:lnTo>
                          <a:pt x="43" y="12"/>
                        </a:lnTo>
                        <a:lnTo>
                          <a:pt x="55" y="12"/>
                        </a:lnTo>
                        <a:lnTo>
                          <a:pt x="58" y="15"/>
                        </a:lnTo>
                        <a:lnTo>
                          <a:pt x="58" y="18"/>
                        </a:lnTo>
                        <a:lnTo>
                          <a:pt x="59" y="20"/>
                        </a:lnTo>
                        <a:lnTo>
                          <a:pt x="59" y="25"/>
                        </a:lnTo>
                        <a:lnTo>
                          <a:pt x="57" y="28"/>
                        </a:lnTo>
                        <a:lnTo>
                          <a:pt x="55" y="31"/>
                        </a:lnTo>
                        <a:lnTo>
                          <a:pt x="55" y="35"/>
                        </a:lnTo>
                        <a:lnTo>
                          <a:pt x="54" y="38"/>
                        </a:lnTo>
                        <a:lnTo>
                          <a:pt x="54" y="43"/>
                        </a:lnTo>
                        <a:lnTo>
                          <a:pt x="51" y="46"/>
                        </a:lnTo>
                        <a:lnTo>
                          <a:pt x="49" y="49"/>
                        </a:lnTo>
                        <a:lnTo>
                          <a:pt x="46" y="53"/>
                        </a:lnTo>
                        <a:lnTo>
                          <a:pt x="45" y="56"/>
                        </a:lnTo>
                        <a:lnTo>
                          <a:pt x="42" y="57"/>
                        </a:lnTo>
                        <a:lnTo>
                          <a:pt x="40" y="59"/>
                        </a:lnTo>
                        <a:lnTo>
                          <a:pt x="37" y="60"/>
                        </a:lnTo>
                        <a:lnTo>
                          <a:pt x="34" y="63"/>
                        </a:lnTo>
                        <a:lnTo>
                          <a:pt x="31" y="62"/>
                        </a:lnTo>
                        <a:lnTo>
                          <a:pt x="28" y="65"/>
                        </a:lnTo>
                        <a:lnTo>
                          <a:pt x="25" y="65"/>
                        </a:lnTo>
                        <a:lnTo>
                          <a:pt x="21" y="66"/>
                        </a:lnTo>
                        <a:lnTo>
                          <a:pt x="18" y="66"/>
                        </a:lnTo>
                        <a:lnTo>
                          <a:pt x="12" y="69"/>
                        </a:lnTo>
                        <a:lnTo>
                          <a:pt x="11" y="72"/>
                        </a:lnTo>
                        <a:lnTo>
                          <a:pt x="5" y="72"/>
                        </a:lnTo>
                        <a:lnTo>
                          <a:pt x="5" y="69"/>
                        </a:lnTo>
                        <a:lnTo>
                          <a:pt x="3" y="66"/>
                        </a:lnTo>
                        <a:lnTo>
                          <a:pt x="3" y="63"/>
                        </a:lnTo>
                        <a:lnTo>
                          <a:pt x="2" y="62"/>
                        </a:lnTo>
                        <a:lnTo>
                          <a:pt x="0" y="56"/>
                        </a:lnTo>
                        <a:lnTo>
                          <a:pt x="0" y="46"/>
                        </a:lnTo>
                        <a:lnTo>
                          <a:pt x="2" y="38"/>
                        </a:lnTo>
                        <a:lnTo>
                          <a:pt x="3" y="34"/>
                        </a:lnTo>
                        <a:lnTo>
                          <a:pt x="3" y="29"/>
                        </a:lnTo>
                        <a:lnTo>
                          <a:pt x="5" y="25"/>
                        </a:lnTo>
                        <a:lnTo>
                          <a:pt x="6" y="22"/>
                        </a:lnTo>
                        <a:lnTo>
                          <a:pt x="6" y="18"/>
                        </a:lnTo>
                        <a:lnTo>
                          <a:pt x="3" y="15"/>
                        </a:lnTo>
                        <a:lnTo>
                          <a:pt x="3" y="7"/>
                        </a:lnTo>
                        <a:lnTo>
                          <a:pt x="5" y="7"/>
                        </a:lnTo>
                        <a:lnTo>
                          <a:pt x="6" y="9"/>
                        </a:lnTo>
                        <a:lnTo>
                          <a:pt x="9" y="9"/>
                        </a:lnTo>
                        <a:lnTo>
                          <a:pt x="12" y="10"/>
                        </a:lnTo>
                        <a:lnTo>
                          <a:pt x="15" y="10"/>
                        </a:lnTo>
                        <a:lnTo>
                          <a:pt x="21" y="7"/>
                        </a:lnTo>
                        <a:lnTo>
                          <a:pt x="25" y="4"/>
                        </a:lnTo>
                        <a:lnTo>
                          <a:pt x="31" y="1"/>
                        </a:lnTo>
                        <a:lnTo>
                          <a:pt x="33"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2" name="Freeform 271" descr="© INSCALE GmbH, 21.06.2010"/>
                  <p:cNvSpPr>
                    <a:spLocks noChangeAspect="1"/>
                  </p:cNvSpPr>
                  <p:nvPr/>
                </p:nvSpPr>
                <p:spPr bwMode="auto">
                  <a:xfrm>
                    <a:off x="3752180" y="3529477"/>
                    <a:ext cx="109588" cy="122071"/>
                  </a:xfrm>
                  <a:custGeom>
                    <a:avLst/>
                    <a:gdLst>
                      <a:gd name="T0" fmla="*/ 2147483646 w 111"/>
                      <a:gd name="T1" fmla="*/ 0 h 127"/>
                      <a:gd name="T2" fmla="*/ 2147483646 w 111"/>
                      <a:gd name="T3" fmla="*/ 2147483646 h 127"/>
                      <a:gd name="T4" fmla="*/ 2147483646 w 111"/>
                      <a:gd name="T5" fmla="*/ 2147483646 h 127"/>
                      <a:gd name="T6" fmla="*/ 2147483646 w 111"/>
                      <a:gd name="T7" fmla="*/ 2147483646 h 127"/>
                      <a:gd name="T8" fmla="*/ 2147483646 w 111"/>
                      <a:gd name="T9" fmla="*/ 2147483646 h 127"/>
                      <a:gd name="T10" fmla="*/ 2147483646 w 111"/>
                      <a:gd name="T11" fmla="*/ 2147483646 h 127"/>
                      <a:gd name="T12" fmla="*/ 2147483646 w 111"/>
                      <a:gd name="T13" fmla="*/ 2147483646 h 127"/>
                      <a:gd name="T14" fmla="*/ 2147483646 w 111"/>
                      <a:gd name="T15" fmla="*/ 2147483646 h 127"/>
                      <a:gd name="T16" fmla="*/ 2147483646 w 111"/>
                      <a:gd name="T17" fmla="*/ 2147483646 h 127"/>
                      <a:gd name="T18" fmla="*/ 2147483646 w 111"/>
                      <a:gd name="T19" fmla="*/ 2147483646 h 127"/>
                      <a:gd name="T20" fmla="*/ 2147483646 w 111"/>
                      <a:gd name="T21" fmla="*/ 2147483646 h 127"/>
                      <a:gd name="T22" fmla="*/ 2147483646 w 111"/>
                      <a:gd name="T23" fmla="*/ 2147483646 h 127"/>
                      <a:gd name="T24" fmla="*/ 2147483646 w 111"/>
                      <a:gd name="T25" fmla="*/ 2147483646 h 127"/>
                      <a:gd name="T26" fmla="*/ 2147483646 w 111"/>
                      <a:gd name="T27" fmla="*/ 2147483646 h 127"/>
                      <a:gd name="T28" fmla="*/ 2147483646 w 111"/>
                      <a:gd name="T29" fmla="*/ 2147483646 h 127"/>
                      <a:gd name="T30" fmla="*/ 2147483646 w 111"/>
                      <a:gd name="T31" fmla="*/ 2147483646 h 127"/>
                      <a:gd name="T32" fmla="*/ 2147483646 w 111"/>
                      <a:gd name="T33" fmla="*/ 2147483646 h 127"/>
                      <a:gd name="T34" fmla="*/ 2147483646 w 111"/>
                      <a:gd name="T35" fmla="*/ 2147483646 h 127"/>
                      <a:gd name="T36" fmla="*/ 2147483646 w 111"/>
                      <a:gd name="T37" fmla="*/ 2147483646 h 127"/>
                      <a:gd name="T38" fmla="*/ 2147483646 w 111"/>
                      <a:gd name="T39" fmla="*/ 2147483646 h 127"/>
                      <a:gd name="T40" fmla="*/ 2147483646 w 111"/>
                      <a:gd name="T41" fmla="*/ 2147483646 h 127"/>
                      <a:gd name="T42" fmla="*/ 2147483646 w 111"/>
                      <a:gd name="T43" fmla="*/ 2147483646 h 127"/>
                      <a:gd name="T44" fmla="*/ 2147483646 w 111"/>
                      <a:gd name="T45" fmla="*/ 2147483646 h 127"/>
                      <a:gd name="T46" fmla="*/ 2147483646 w 111"/>
                      <a:gd name="T47" fmla="*/ 2147483646 h 127"/>
                      <a:gd name="T48" fmla="*/ 2147483646 w 111"/>
                      <a:gd name="T49" fmla="*/ 2147483646 h 127"/>
                      <a:gd name="T50" fmla="*/ 2147483646 w 111"/>
                      <a:gd name="T51" fmla="*/ 2147483646 h 127"/>
                      <a:gd name="T52" fmla="*/ 2147483646 w 111"/>
                      <a:gd name="T53" fmla="*/ 2147483646 h 127"/>
                      <a:gd name="T54" fmla="*/ 2147483646 w 111"/>
                      <a:gd name="T55" fmla="*/ 2147483646 h 127"/>
                      <a:gd name="T56" fmla="*/ 2147483646 w 111"/>
                      <a:gd name="T57" fmla="*/ 2147483646 h 127"/>
                      <a:gd name="T58" fmla="*/ 2147483646 w 111"/>
                      <a:gd name="T59" fmla="*/ 2147483646 h 127"/>
                      <a:gd name="T60" fmla="*/ 2147483646 w 111"/>
                      <a:gd name="T61" fmla="*/ 2147483646 h 127"/>
                      <a:gd name="T62" fmla="*/ 2147483646 w 111"/>
                      <a:gd name="T63" fmla="*/ 2147483646 h 127"/>
                      <a:gd name="T64" fmla="*/ 2147483646 w 111"/>
                      <a:gd name="T65" fmla="*/ 2147483646 h 127"/>
                      <a:gd name="T66" fmla="*/ 2147483646 w 111"/>
                      <a:gd name="T67" fmla="*/ 2147483646 h 127"/>
                      <a:gd name="T68" fmla="*/ 2147483646 w 111"/>
                      <a:gd name="T69" fmla="*/ 2147483646 h 127"/>
                      <a:gd name="T70" fmla="*/ 0 w 111"/>
                      <a:gd name="T71" fmla="*/ 2147483646 h 127"/>
                      <a:gd name="T72" fmla="*/ 2147483646 w 111"/>
                      <a:gd name="T73" fmla="*/ 2147483646 h 127"/>
                      <a:gd name="T74" fmla="*/ 2147483646 w 111"/>
                      <a:gd name="T75" fmla="*/ 2147483646 h 127"/>
                      <a:gd name="T76" fmla="*/ 2147483646 w 111"/>
                      <a:gd name="T77" fmla="*/ 2147483646 h 127"/>
                      <a:gd name="T78" fmla="*/ 2147483646 w 111"/>
                      <a:gd name="T79" fmla="*/ 2147483646 h 127"/>
                      <a:gd name="T80" fmla="*/ 2147483646 w 111"/>
                      <a:gd name="T81" fmla="*/ 2147483646 h 127"/>
                      <a:gd name="T82" fmla="*/ 2147483646 w 111"/>
                      <a:gd name="T83" fmla="*/ 2147483646 h 127"/>
                      <a:gd name="T84" fmla="*/ 2147483646 w 111"/>
                      <a:gd name="T85" fmla="*/ 2147483646 h 127"/>
                      <a:gd name="T86" fmla="*/ 2147483646 w 111"/>
                      <a:gd name="T87" fmla="*/ 2147483646 h 127"/>
                      <a:gd name="T88" fmla="*/ 2147483646 w 111"/>
                      <a:gd name="T89" fmla="*/ 2147483646 h 127"/>
                      <a:gd name="T90" fmla="*/ 2147483646 w 111"/>
                      <a:gd name="T91" fmla="*/ 2147483646 h 127"/>
                      <a:gd name="T92" fmla="*/ 2147483646 w 111"/>
                      <a:gd name="T93" fmla="*/ 2147483646 h 127"/>
                      <a:gd name="T94" fmla="*/ 2147483646 w 111"/>
                      <a:gd name="T95" fmla="*/ 2147483646 h 127"/>
                      <a:gd name="T96" fmla="*/ 2147483646 w 111"/>
                      <a:gd name="T97" fmla="*/ 2147483646 h 127"/>
                      <a:gd name="T98" fmla="*/ 2147483646 w 111"/>
                      <a:gd name="T99" fmla="*/ 2147483646 h 127"/>
                      <a:gd name="T100" fmla="*/ 2147483646 w 111"/>
                      <a:gd name="T101" fmla="*/ 2147483646 h 12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
                      <a:gd name="T154" fmla="*/ 0 h 127"/>
                      <a:gd name="T155" fmla="*/ 111 w 111"/>
                      <a:gd name="T156" fmla="*/ 127 h 12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 h="127">
                        <a:moveTo>
                          <a:pt x="53" y="0"/>
                        </a:moveTo>
                        <a:lnTo>
                          <a:pt x="54" y="0"/>
                        </a:lnTo>
                        <a:lnTo>
                          <a:pt x="56" y="2"/>
                        </a:lnTo>
                        <a:lnTo>
                          <a:pt x="59" y="2"/>
                        </a:lnTo>
                        <a:lnTo>
                          <a:pt x="62" y="3"/>
                        </a:lnTo>
                        <a:lnTo>
                          <a:pt x="63" y="5"/>
                        </a:lnTo>
                        <a:lnTo>
                          <a:pt x="68" y="5"/>
                        </a:lnTo>
                        <a:lnTo>
                          <a:pt x="69" y="3"/>
                        </a:lnTo>
                        <a:lnTo>
                          <a:pt x="71" y="3"/>
                        </a:lnTo>
                        <a:lnTo>
                          <a:pt x="77" y="9"/>
                        </a:lnTo>
                        <a:lnTo>
                          <a:pt x="74" y="12"/>
                        </a:lnTo>
                        <a:lnTo>
                          <a:pt x="72" y="12"/>
                        </a:lnTo>
                        <a:lnTo>
                          <a:pt x="72" y="14"/>
                        </a:lnTo>
                        <a:lnTo>
                          <a:pt x="74" y="17"/>
                        </a:lnTo>
                        <a:lnTo>
                          <a:pt x="75" y="21"/>
                        </a:lnTo>
                        <a:lnTo>
                          <a:pt x="75" y="22"/>
                        </a:lnTo>
                        <a:lnTo>
                          <a:pt x="77" y="24"/>
                        </a:lnTo>
                        <a:lnTo>
                          <a:pt x="87" y="17"/>
                        </a:lnTo>
                        <a:lnTo>
                          <a:pt x="88" y="22"/>
                        </a:lnTo>
                        <a:lnTo>
                          <a:pt x="94" y="22"/>
                        </a:lnTo>
                        <a:lnTo>
                          <a:pt x="94" y="27"/>
                        </a:lnTo>
                        <a:lnTo>
                          <a:pt x="93" y="30"/>
                        </a:lnTo>
                        <a:lnTo>
                          <a:pt x="103" y="36"/>
                        </a:lnTo>
                        <a:lnTo>
                          <a:pt x="105" y="36"/>
                        </a:lnTo>
                        <a:lnTo>
                          <a:pt x="106" y="37"/>
                        </a:lnTo>
                        <a:lnTo>
                          <a:pt x="109" y="39"/>
                        </a:lnTo>
                        <a:lnTo>
                          <a:pt x="109" y="43"/>
                        </a:lnTo>
                        <a:lnTo>
                          <a:pt x="106" y="46"/>
                        </a:lnTo>
                        <a:lnTo>
                          <a:pt x="102" y="55"/>
                        </a:lnTo>
                        <a:lnTo>
                          <a:pt x="102" y="56"/>
                        </a:lnTo>
                        <a:lnTo>
                          <a:pt x="105" y="59"/>
                        </a:lnTo>
                        <a:lnTo>
                          <a:pt x="108" y="61"/>
                        </a:lnTo>
                        <a:lnTo>
                          <a:pt x="109" y="62"/>
                        </a:lnTo>
                        <a:lnTo>
                          <a:pt x="111" y="65"/>
                        </a:lnTo>
                        <a:lnTo>
                          <a:pt x="109" y="67"/>
                        </a:lnTo>
                        <a:lnTo>
                          <a:pt x="106" y="76"/>
                        </a:lnTo>
                        <a:lnTo>
                          <a:pt x="106" y="80"/>
                        </a:lnTo>
                        <a:lnTo>
                          <a:pt x="105" y="83"/>
                        </a:lnTo>
                        <a:lnTo>
                          <a:pt x="105" y="86"/>
                        </a:lnTo>
                        <a:lnTo>
                          <a:pt x="103" y="89"/>
                        </a:lnTo>
                        <a:lnTo>
                          <a:pt x="102" y="90"/>
                        </a:lnTo>
                        <a:lnTo>
                          <a:pt x="102" y="95"/>
                        </a:lnTo>
                        <a:lnTo>
                          <a:pt x="103" y="96"/>
                        </a:lnTo>
                        <a:lnTo>
                          <a:pt x="103" y="98"/>
                        </a:lnTo>
                        <a:lnTo>
                          <a:pt x="100" y="104"/>
                        </a:lnTo>
                        <a:lnTo>
                          <a:pt x="97" y="107"/>
                        </a:lnTo>
                        <a:lnTo>
                          <a:pt x="96" y="110"/>
                        </a:lnTo>
                        <a:lnTo>
                          <a:pt x="91" y="114"/>
                        </a:lnTo>
                        <a:lnTo>
                          <a:pt x="91" y="116"/>
                        </a:lnTo>
                        <a:lnTo>
                          <a:pt x="88" y="117"/>
                        </a:lnTo>
                        <a:lnTo>
                          <a:pt x="87" y="119"/>
                        </a:lnTo>
                        <a:lnTo>
                          <a:pt x="81" y="122"/>
                        </a:lnTo>
                        <a:lnTo>
                          <a:pt x="68" y="122"/>
                        </a:lnTo>
                        <a:lnTo>
                          <a:pt x="62" y="127"/>
                        </a:lnTo>
                        <a:lnTo>
                          <a:pt x="60" y="119"/>
                        </a:lnTo>
                        <a:lnTo>
                          <a:pt x="59" y="119"/>
                        </a:lnTo>
                        <a:lnTo>
                          <a:pt x="57" y="120"/>
                        </a:lnTo>
                        <a:lnTo>
                          <a:pt x="53" y="123"/>
                        </a:lnTo>
                        <a:lnTo>
                          <a:pt x="48" y="125"/>
                        </a:lnTo>
                        <a:lnTo>
                          <a:pt x="47" y="125"/>
                        </a:lnTo>
                        <a:lnTo>
                          <a:pt x="44" y="122"/>
                        </a:lnTo>
                        <a:lnTo>
                          <a:pt x="44" y="108"/>
                        </a:lnTo>
                        <a:lnTo>
                          <a:pt x="43" y="108"/>
                        </a:lnTo>
                        <a:lnTo>
                          <a:pt x="41" y="107"/>
                        </a:lnTo>
                        <a:lnTo>
                          <a:pt x="38" y="107"/>
                        </a:lnTo>
                        <a:lnTo>
                          <a:pt x="35" y="105"/>
                        </a:lnTo>
                        <a:lnTo>
                          <a:pt x="34" y="105"/>
                        </a:lnTo>
                        <a:lnTo>
                          <a:pt x="31" y="104"/>
                        </a:lnTo>
                        <a:lnTo>
                          <a:pt x="20" y="104"/>
                        </a:lnTo>
                        <a:lnTo>
                          <a:pt x="14" y="98"/>
                        </a:lnTo>
                        <a:lnTo>
                          <a:pt x="6" y="98"/>
                        </a:lnTo>
                        <a:lnTo>
                          <a:pt x="0" y="85"/>
                        </a:lnTo>
                        <a:lnTo>
                          <a:pt x="3" y="88"/>
                        </a:lnTo>
                        <a:lnTo>
                          <a:pt x="11" y="88"/>
                        </a:lnTo>
                        <a:lnTo>
                          <a:pt x="17" y="85"/>
                        </a:lnTo>
                        <a:lnTo>
                          <a:pt x="22" y="80"/>
                        </a:lnTo>
                        <a:lnTo>
                          <a:pt x="23" y="77"/>
                        </a:lnTo>
                        <a:lnTo>
                          <a:pt x="26" y="76"/>
                        </a:lnTo>
                        <a:lnTo>
                          <a:pt x="28" y="74"/>
                        </a:lnTo>
                        <a:lnTo>
                          <a:pt x="29" y="74"/>
                        </a:lnTo>
                        <a:lnTo>
                          <a:pt x="28" y="71"/>
                        </a:lnTo>
                        <a:lnTo>
                          <a:pt x="28" y="64"/>
                        </a:lnTo>
                        <a:lnTo>
                          <a:pt x="29" y="61"/>
                        </a:lnTo>
                        <a:lnTo>
                          <a:pt x="22" y="54"/>
                        </a:lnTo>
                        <a:lnTo>
                          <a:pt x="19" y="49"/>
                        </a:lnTo>
                        <a:lnTo>
                          <a:pt x="17" y="48"/>
                        </a:lnTo>
                        <a:lnTo>
                          <a:pt x="16" y="45"/>
                        </a:lnTo>
                        <a:lnTo>
                          <a:pt x="16" y="42"/>
                        </a:lnTo>
                        <a:lnTo>
                          <a:pt x="19" y="40"/>
                        </a:lnTo>
                        <a:lnTo>
                          <a:pt x="28" y="40"/>
                        </a:lnTo>
                        <a:lnTo>
                          <a:pt x="26" y="37"/>
                        </a:lnTo>
                        <a:lnTo>
                          <a:pt x="26" y="36"/>
                        </a:lnTo>
                        <a:lnTo>
                          <a:pt x="25" y="33"/>
                        </a:lnTo>
                        <a:lnTo>
                          <a:pt x="25" y="31"/>
                        </a:lnTo>
                        <a:lnTo>
                          <a:pt x="28" y="28"/>
                        </a:lnTo>
                        <a:lnTo>
                          <a:pt x="28" y="21"/>
                        </a:lnTo>
                        <a:lnTo>
                          <a:pt x="29" y="20"/>
                        </a:lnTo>
                        <a:lnTo>
                          <a:pt x="31" y="17"/>
                        </a:lnTo>
                        <a:lnTo>
                          <a:pt x="32" y="15"/>
                        </a:lnTo>
                        <a:lnTo>
                          <a:pt x="35" y="15"/>
                        </a:lnTo>
                        <a:lnTo>
                          <a:pt x="35" y="9"/>
                        </a:lnTo>
                        <a:lnTo>
                          <a:pt x="34" y="8"/>
                        </a:lnTo>
                        <a:lnTo>
                          <a:pt x="53" y="0"/>
                        </a:lnTo>
                        <a:close/>
                      </a:path>
                    </a:pathLst>
                  </a:custGeom>
                  <a:solidFill>
                    <a:srgbClr val="FFC000"/>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3" name="Freeform 272" descr="© INSCALE GmbH, 21.06.2010"/>
                  <p:cNvSpPr>
                    <a:spLocks noChangeAspect="1"/>
                  </p:cNvSpPr>
                  <p:nvPr/>
                </p:nvSpPr>
                <p:spPr bwMode="auto">
                  <a:xfrm>
                    <a:off x="3230602" y="3804138"/>
                    <a:ext cx="54100" cy="88779"/>
                  </a:xfrm>
                  <a:custGeom>
                    <a:avLst/>
                    <a:gdLst>
                      <a:gd name="T0" fmla="*/ 2147483646 w 56"/>
                      <a:gd name="T1" fmla="*/ 0 h 93"/>
                      <a:gd name="T2" fmla="*/ 2147483646 w 56"/>
                      <a:gd name="T3" fmla="*/ 2147483646 h 93"/>
                      <a:gd name="T4" fmla="*/ 2147483646 w 56"/>
                      <a:gd name="T5" fmla="*/ 2147483646 h 93"/>
                      <a:gd name="T6" fmla="*/ 2147483646 w 56"/>
                      <a:gd name="T7" fmla="*/ 2147483646 h 93"/>
                      <a:gd name="T8" fmla="*/ 2147483646 w 56"/>
                      <a:gd name="T9" fmla="*/ 2147483646 h 93"/>
                      <a:gd name="T10" fmla="*/ 2147483646 w 56"/>
                      <a:gd name="T11" fmla="*/ 2147483646 h 93"/>
                      <a:gd name="T12" fmla="*/ 2147483646 w 56"/>
                      <a:gd name="T13" fmla="*/ 2147483646 h 93"/>
                      <a:gd name="T14" fmla="*/ 2147483646 w 56"/>
                      <a:gd name="T15" fmla="*/ 2147483646 h 93"/>
                      <a:gd name="T16" fmla="*/ 2147483646 w 56"/>
                      <a:gd name="T17" fmla="*/ 2147483646 h 93"/>
                      <a:gd name="T18" fmla="*/ 2147483646 w 56"/>
                      <a:gd name="T19" fmla="*/ 2147483646 h 93"/>
                      <a:gd name="T20" fmla="*/ 2147483646 w 56"/>
                      <a:gd name="T21" fmla="*/ 2147483646 h 93"/>
                      <a:gd name="T22" fmla="*/ 2147483646 w 56"/>
                      <a:gd name="T23" fmla="*/ 2147483646 h 93"/>
                      <a:gd name="T24" fmla="*/ 2147483646 w 56"/>
                      <a:gd name="T25" fmla="*/ 2147483646 h 93"/>
                      <a:gd name="T26" fmla="*/ 2147483646 w 56"/>
                      <a:gd name="T27" fmla="*/ 2147483646 h 93"/>
                      <a:gd name="T28" fmla="*/ 2147483646 w 56"/>
                      <a:gd name="T29" fmla="*/ 2147483646 h 93"/>
                      <a:gd name="T30" fmla="*/ 2147483646 w 56"/>
                      <a:gd name="T31" fmla="*/ 2147483646 h 93"/>
                      <a:gd name="T32" fmla="*/ 2147483646 w 56"/>
                      <a:gd name="T33" fmla="*/ 2147483646 h 93"/>
                      <a:gd name="T34" fmla="*/ 2147483646 w 56"/>
                      <a:gd name="T35" fmla="*/ 2147483646 h 93"/>
                      <a:gd name="T36" fmla="*/ 2147483646 w 56"/>
                      <a:gd name="T37" fmla="*/ 2147483646 h 93"/>
                      <a:gd name="T38" fmla="*/ 2147483646 w 56"/>
                      <a:gd name="T39" fmla="*/ 2147483646 h 93"/>
                      <a:gd name="T40" fmla="*/ 2147483646 w 56"/>
                      <a:gd name="T41" fmla="*/ 2147483646 h 93"/>
                      <a:gd name="T42" fmla="*/ 2147483646 w 56"/>
                      <a:gd name="T43" fmla="*/ 2147483646 h 93"/>
                      <a:gd name="T44" fmla="*/ 2147483646 w 56"/>
                      <a:gd name="T45" fmla="*/ 2147483646 h 93"/>
                      <a:gd name="T46" fmla="*/ 2147483646 w 56"/>
                      <a:gd name="T47" fmla="*/ 2147483646 h 93"/>
                      <a:gd name="T48" fmla="*/ 2147483646 w 56"/>
                      <a:gd name="T49" fmla="*/ 2147483646 h 93"/>
                      <a:gd name="T50" fmla="*/ 2147483646 w 56"/>
                      <a:gd name="T51" fmla="*/ 2147483646 h 93"/>
                      <a:gd name="T52" fmla="*/ 2147483646 w 56"/>
                      <a:gd name="T53" fmla="*/ 2147483646 h 93"/>
                      <a:gd name="T54" fmla="*/ 2147483646 w 56"/>
                      <a:gd name="T55" fmla="*/ 2147483646 h 93"/>
                      <a:gd name="T56" fmla="*/ 2147483646 w 56"/>
                      <a:gd name="T57" fmla="*/ 2147483646 h 93"/>
                      <a:gd name="T58" fmla="*/ 2147483646 w 56"/>
                      <a:gd name="T59" fmla="*/ 2147483646 h 93"/>
                      <a:gd name="T60" fmla="*/ 2147483646 w 56"/>
                      <a:gd name="T61" fmla="*/ 2147483646 h 93"/>
                      <a:gd name="T62" fmla="*/ 2147483646 w 56"/>
                      <a:gd name="T63" fmla="*/ 2147483646 h 93"/>
                      <a:gd name="T64" fmla="*/ 2147483646 w 56"/>
                      <a:gd name="T65" fmla="*/ 2147483646 h 93"/>
                      <a:gd name="T66" fmla="*/ 2147483646 w 56"/>
                      <a:gd name="T67" fmla="*/ 2147483646 h 93"/>
                      <a:gd name="T68" fmla="*/ 2147483646 w 56"/>
                      <a:gd name="T69" fmla="*/ 2147483646 h 93"/>
                      <a:gd name="T70" fmla="*/ 2147483646 w 56"/>
                      <a:gd name="T71" fmla="*/ 2147483646 h 93"/>
                      <a:gd name="T72" fmla="*/ 2147483646 w 56"/>
                      <a:gd name="T73" fmla="*/ 2147483646 h 93"/>
                      <a:gd name="T74" fmla="*/ 2147483646 w 56"/>
                      <a:gd name="T75" fmla="*/ 2147483646 h 93"/>
                      <a:gd name="T76" fmla="*/ 2147483646 w 56"/>
                      <a:gd name="T77" fmla="*/ 2147483646 h 93"/>
                      <a:gd name="T78" fmla="*/ 2147483646 w 56"/>
                      <a:gd name="T79" fmla="*/ 2147483646 h 93"/>
                      <a:gd name="T80" fmla="*/ 2147483646 w 56"/>
                      <a:gd name="T81" fmla="*/ 2147483646 h 93"/>
                      <a:gd name="T82" fmla="*/ 2147483646 w 56"/>
                      <a:gd name="T83" fmla="*/ 2147483646 h 93"/>
                      <a:gd name="T84" fmla="*/ 2147483646 w 56"/>
                      <a:gd name="T85" fmla="*/ 2147483646 h 93"/>
                      <a:gd name="T86" fmla="*/ 2147483646 w 56"/>
                      <a:gd name="T87" fmla="*/ 2147483646 h 93"/>
                      <a:gd name="T88" fmla="*/ 0 w 56"/>
                      <a:gd name="T89" fmla="*/ 2147483646 h 93"/>
                      <a:gd name="T90" fmla="*/ 2147483646 w 56"/>
                      <a:gd name="T91" fmla="*/ 2147483646 h 93"/>
                      <a:gd name="T92" fmla="*/ 2147483646 w 56"/>
                      <a:gd name="T93" fmla="*/ 2147483646 h 93"/>
                      <a:gd name="T94" fmla="*/ 2147483646 w 56"/>
                      <a:gd name="T95" fmla="*/ 2147483646 h 93"/>
                      <a:gd name="T96" fmla="*/ 2147483646 w 56"/>
                      <a:gd name="T97" fmla="*/ 2147483646 h 93"/>
                      <a:gd name="T98" fmla="*/ 2147483646 w 56"/>
                      <a:gd name="T99" fmla="*/ 2147483646 h 93"/>
                      <a:gd name="T100" fmla="*/ 2147483646 w 56"/>
                      <a:gd name="T101" fmla="*/ 2147483646 h 93"/>
                      <a:gd name="T102" fmla="*/ 2147483646 w 56"/>
                      <a:gd name="T103" fmla="*/ 2147483646 h 93"/>
                      <a:gd name="T104" fmla="*/ 2147483646 w 56"/>
                      <a:gd name="T105" fmla="*/ 2147483646 h 93"/>
                      <a:gd name="T106" fmla="*/ 2147483646 w 56"/>
                      <a:gd name="T107" fmla="*/ 2147483646 h 93"/>
                      <a:gd name="T108" fmla="*/ 2147483646 w 56"/>
                      <a:gd name="T109" fmla="*/ 2147483646 h 93"/>
                      <a:gd name="T110" fmla="*/ 2147483646 w 56"/>
                      <a:gd name="T111" fmla="*/ 2147483646 h 93"/>
                      <a:gd name="T112" fmla="*/ 2147483646 w 56"/>
                      <a:gd name="T113" fmla="*/ 2147483646 h 93"/>
                      <a:gd name="T114" fmla="*/ 0 w 56"/>
                      <a:gd name="T115" fmla="*/ 2147483646 h 93"/>
                      <a:gd name="T116" fmla="*/ 0 w 56"/>
                      <a:gd name="T117" fmla="*/ 2147483646 h 93"/>
                      <a:gd name="T118" fmla="*/ 2147483646 w 56"/>
                      <a:gd name="T119" fmla="*/ 0 h 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6"/>
                      <a:gd name="T181" fmla="*/ 0 h 93"/>
                      <a:gd name="T182" fmla="*/ 56 w 56"/>
                      <a:gd name="T183" fmla="*/ 93 h 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6" h="93">
                        <a:moveTo>
                          <a:pt x="12" y="0"/>
                        </a:moveTo>
                        <a:lnTo>
                          <a:pt x="15" y="3"/>
                        </a:lnTo>
                        <a:lnTo>
                          <a:pt x="15" y="5"/>
                        </a:lnTo>
                        <a:lnTo>
                          <a:pt x="16" y="6"/>
                        </a:lnTo>
                        <a:lnTo>
                          <a:pt x="17" y="6"/>
                        </a:lnTo>
                        <a:lnTo>
                          <a:pt x="19" y="8"/>
                        </a:lnTo>
                        <a:lnTo>
                          <a:pt x="22" y="9"/>
                        </a:lnTo>
                        <a:lnTo>
                          <a:pt x="23" y="11"/>
                        </a:lnTo>
                        <a:lnTo>
                          <a:pt x="25" y="11"/>
                        </a:lnTo>
                        <a:lnTo>
                          <a:pt x="32" y="18"/>
                        </a:lnTo>
                        <a:lnTo>
                          <a:pt x="32" y="21"/>
                        </a:lnTo>
                        <a:lnTo>
                          <a:pt x="31" y="24"/>
                        </a:lnTo>
                        <a:lnTo>
                          <a:pt x="31" y="27"/>
                        </a:lnTo>
                        <a:lnTo>
                          <a:pt x="32" y="27"/>
                        </a:lnTo>
                        <a:lnTo>
                          <a:pt x="34" y="25"/>
                        </a:lnTo>
                        <a:lnTo>
                          <a:pt x="37" y="24"/>
                        </a:lnTo>
                        <a:lnTo>
                          <a:pt x="38" y="24"/>
                        </a:lnTo>
                        <a:lnTo>
                          <a:pt x="41" y="22"/>
                        </a:lnTo>
                        <a:lnTo>
                          <a:pt x="43" y="24"/>
                        </a:lnTo>
                        <a:lnTo>
                          <a:pt x="46" y="25"/>
                        </a:lnTo>
                        <a:lnTo>
                          <a:pt x="47" y="28"/>
                        </a:lnTo>
                        <a:lnTo>
                          <a:pt x="47" y="30"/>
                        </a:lnTo>
                        <a:lnTo>
                          <a:pt x="49" y="31"/>
                        </a:lnTo>
                        <a:lnTo>
                          <a:pt x="49" y="33"/>
                        </a:lnTo>
                        <a:lnTo>
                          <a:pt x="56" y="40"/>
                        </a:lnTo>
                        <a:lnTo>
                          <a:pt x="56" y="46"/>
                        </a:lnTo>
                        <a:lnTo>
                          <a:pt x="54" y="49"/>
                        </a:lnTo>
                        <a:lnTo>
                          <a:pt x="50" y="55"/>
                        </a:lnTo>
                        <a:lnTo>
                          <a:pt x="56" y="77"/>
                        </a:lnTo>
                        <a:lnTo>
                          <a:pt x="54" y="86"/>
                        </a:lnTo>
                        <a:lnTo>
                          <a:pt x="43" y="92"/>
                        </a:lnTo>
                        <a:lnTo>
                          <a:pt x="40" y="92"/>
                        </a:lnTo>
                        <a:lnTo>
                          <a:pt x="37" y="93"/>
                        </a:lnTo>
                        <a:lnTo>
                          <a:pt x="31" y="93"/>
                        </a:lnTo>
                        <a:lnTo>
                          <a:pt x="28" y="90"/>
                        </a:lnTo>
                        <a:lnTo>
                          <a:pt x="28" y="87"/>
                        </a:lnTo>
                        <a:lnTo>
                          <a:pt x="26" y="84"/>
                        </a:lnTo>
                        <a:lnTo>
                          <a:pt x="26" y="82"/>
                        </a:lnTo>
                        <a:lnTo>
                          <a:pt x="17" y="73"/>
                        </a:lnTo>
                        <a:lnTo>
                          <a:pt x="12" y="73"/>
                        </a:lnTo>
                        <a:lnTo>
                          <a:pt x="7" y="68"/>
                        </a:lnTo>
                        <a:lnTo>
                          <a:pt x="6" y="65"/>
                        </a:lnTo>
                        <a:lnTo>
                          <a:pt x="4" y="64"/>
                        </a:lnTo>
                        <a:lnTo>
                          <a:pt x="3" y="61"/>
                        </a:lnTo>
                        <a:lnTo>
                          <a:pt x="0" y="59"/>
                        </a:lnTo>
                        <a:lnTo>
                          <a:pt x="7" y="56"/>
                        </a:lnTo>
                        <a:lnTo>
                          <a:pt x="10" y="53"/>
                        </a:lnTo>
                        <a:lnTo>
                          <a:pt x="12" y="53"/>
                        </a:lnTo>
                        <a:lnTo>
                          <a:pt x="12" y="52"/>
                        </a:lnTo>
                        <a:lnTo>
                          <a:pt x="10" y="50"/>
                        </a:lnTo>
                        <a:lnTo>
                          <a:pt x="10" y="47"/>
                        </a:lnTo>
                        <a:lnTo>
                          <a:pt x="9" y="45"/>
                        </a:lnTo>
                        <a:lnTo>
                          <a:pt x="7" y="43"/>
                        </a:lnTo>
                        <a:lnTo>
                          <a:pt x="7" y="30"/>
                        </a:lnTo>
                        <a:lnTo>
                          <a:pt x="6" y="28"/>
                        </a:lnTo>
                        <a:lnTo>
                          <a:pt x="4" y="25"/>
                        </a:lnTo>
                        <a:lnTo>
                          <a:pt x="1" y="24"/>
                        </a:lnTo>
                        <a:lnTo>
                          <a:pt x="0" y="21"/>
                        </a:lnTo>
                        <a:lnTo>
                          <a:pt x="0" y="5"/>
                        </a:lnTo>
                        <a:lnTo>
                          <a:pt x="12" y="0"/>
                        </a:lnTo>
                        <a:close/>
                      </a:path>
                    </a:pathLst>
                  </a:custGeom>
                  <a:solidFill>
                    <a:srgbClr val="FFC000"/>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4" name="Freeform 273" descr="© INSCALE GmbH, 21.06.2010"/>
                  <p:cNvSpPr>
                    <a:spLocks noChangeAspect="1"/>
                  </p:cNvSpPr>
                  <p:nvPr/>
                </p:nvSpPr>
                <p:spPr bwMode="auto">
                  <a:xfrm>
                    <a:off x="3089457" y="3838406"/>
                    <a:ext cx="74559" cy="140516"/>
                  </a:xfrm>
                  <a:custGeom>
                    <a:avLst/>
                    <a:gdLst>
                      <a:gd name="T0" fmla="*/ 2147483646 w 77"/>
                      <a:gd name="T1" fmla="*/ 2147483646 h 142"/>
                      <a:gd name="T2" fmla="*/ 2147483646 w 77"/>
                      <a:gd name="T3" fmla="*/ 2147483646 h 142"/>
                      <a:gd name="T4" fmla="*/ 2147483646 w 77"/>
                      <a:gd name="T5" fmla="*/ 2147483646 h 142"/>
                      <a:gd name="T6" fmla="*/ 2147483646 w 77"/>
                      <a:gd name="T7" fmla="*/ 2147483646 h 142"/>
                      <a:gd name="T8" fmla="*/ 2147483646 w 77"/>
                      <a:gd name="T9" fmla="*/ 2147483646 h 142"/>
                      <a:gd name="T10" fmla="*/ 2147483646 w 77"/>
                      <a:gd name="T11" fmla="*/ 2147483646 h 142"/>
                      <a:gd name="T12" fmla="*/ 2147483646 w 77"/>
                      <a:gd name="T13" fmla="*/ 2147483646 h 142"/>
                      <a:gd name="T14" fmla="*/ 2147483646 w 77"/>
                      <a:gd name="T15" fmla="*/ 2147483646 h 142"/>
                      <a:gd name="T16" fmla="*/ 2147483646 w 77"/>
                      <a:gd name="T17" fmla="*/ 2147483646 h 142"/>
                      <a:gd name="T18" fmla="*/ 2147483646 w 77"/>
                      <a:gd name="T19" fmla="*/ 2147483646 h 142"/>
                      <a:gd name="T20" fmla="*/ 2147483646 w 77"/>
                      <a:gd name="T21" fmla="*/ 2147483646 h 142"/>
                      <a:gd name="T22" fmla="*/ 2147483646 w 77"/>
                      <a:gd name="T23" fmla="*/ 2147483646 h 142"/>
                      <a:gd name="T24" fmla="*/ 2147483646 w 77"/>
                      <a:gd name="T25" fmla="*/ 2147483646 h 142"/>
                      <a:gd name="T26" fmla="*/ 2147483646 w 77"/>
                      <a:gd name="T27" fmla="*/ 2147483646 h 142"/>
                      <a:gd name="T28" fmla="*/ 2147483646 w 77"/>
                      <a:gd name="T29" fmla="*/ 2147483646 h 142"/>
                      <a:gd name="T30" fmla="*/ 2147483646 w 77"/>
                      <a:gd name="T31" fmla="*/ 2147483646 h 142"/>
                      <a:gd name="T32" fmla="*/ 2147483646 w 77"/>
                      <a:gd name="T33" fmla="*/ 2147483646 h 142"/>
                      <a:gd name="T34" fmla="*/ 2147483646 w 77"/>
                      <a:gd name="T35" fmla="*/ 2147483646 h 142"/>
                      <a:gd name="T36" fmla="*/ 2147483646 w 77"/>
                      <a:gd name="T37" fmla="*/ 2147483646 h 142"/>
                      <a:gd name="T38" fmla="*/ 2147483646 w 77"/>
                      <a:gd name="T39" fmla="*/ 2147483646 h 142"/>
                      <a:gd name="T40" fmla="*/ 2147483646 w 77"/>
                      <a:gd name="T41" fmla="*/ 2147483646 h 142"/>
                      <a:gd name="T42" fmla="*/ 2147483646 w 77"/>
                      <a:gd name="T43" fmla="*/ 2147483646 h 142"/>
                      <a:gd name="T44" fmla="*/ 2147483646 w 77"/>
                      <a:gd name="T45" fmla="*/ 2147483646 h 142"/>
                      <a:gd name="T46" fmla="*/ 2147483646 w 77"/>
                      <a:gd name="T47" fmla="*/ 2147483646 h 142"/>
                      <a:gd name="T48" fmla="*/ 2147483646 w 77"/>
                      <a:gd name="T49" fmla="*/ 2147483646 h 142"/>
                      <a:gd name="T50" fmla="*/ 2147483646 w 77"/>
                      <a:gd name="T51" fmla="*/ 2147483646 h 142"/>
                      <a:gd name="T52" fmla="*/ 2147483646 w 77"/>
                      <a:gd name="T53" fmla="*/ 2147483646 h 142"/>
                      <a:gd name="T54" fmla="*/ 0 w 77"/>
                      <a:gd name="T55" fmla="*/ 2147483646 h 142"/>
                      <a:gd name="T56" fmla="*/ 2147483646 w 77"/>
                      <a:gd name="T57" fmla="*/ 2147483646 h 142"/>
                      <a:gd name="T58" fmla="*/ 2147483646 w 77"/>
                      <a:gd name="T59" fmla="*/ 2147483646 h 142"/>
                      <a:gd name="T60" fmla="*/ 2147483646 w 77"/>
                      <a:gd name="T61" fmla="*/ 2147483646 h 142"/>
                      <a:gd name="T62" fmla="*/ 2147483646 w 77"/>
                      <a:gd name="T63" fmla="*/ 2147483646 h 142"/>
                      <a:gd name="T64" fmla="*/ 2147483646 w 77"/>
                      <a:gd name="T65" fmla="*/ 2147483646 h 142"/>
                      <a:gd name="T66" fmla="*/ 2147483646 w 77"/>
                      <a:gd name="T67" fmla="*/ 2147483646 h 142"/>
                      <a:gd name="T68" fmla="*/ 2147483646 w 77"/>
                      <a:gd name="T69" fmla="*/ 2147483646 h 142"/>
                      <a:gd name="T70" fmla="*/ 2147483646 w 77"/>
                      <a:gd name="T71" fmla="*/ 2147483646 h 142"/>
                      <a:gd name="T72" fmla="*/ 2147483646 w 77"/>
                      <a:gd name="T73" fmla="*/ 2147483646 h 142"/>
                      <a:gd name="T74" fmla="*/ 2147483646 w 77"/>
                      <a:gd name="T75" fmla="*/ 2147483646 h 142"/>
                      <a:gd name="T76" fmla="*/ 2147483646 w 77"/>
                      <a:gd name="T77" fmla="*/ 2147483646 h 142"/>
                      <a:gd name="T78" fmla="*/ 2147483646 w 77"/>
                      <a:gd name="T79" fmla="*/ 2147483646 h 142"/>
                      <a:gd name="T80" fmla="*/ 2147483646 w 77"/>
                      <a:gd name="T81" fmla="*/ 2147483646 h 142"/>
                      <a:gd name="T82" fmla="*/ 2147483646 w 77"/>
                      <a:gd name="T83" fmla="*/ 2147483646 h 142"/>
                      <a:gd name="T84" fmla="*/ 2147483646 w 77"/>
                      <a:gd name="T85" fmla="*/ 2147483646 h 142"/>
                      <a:gd name="T86" fmla="*/ 2147483646 w 77"/>
                      <a:gd name="T87" fmla="*/ 2147483646 h 142"/>
                      <a:gd name="T88" fmla="*/ 2147483646 w 77"/>
                      <a:gd name="T89" fmla="*/ 2147483646 h 142"/>
                      <a:gd name="T90" fmla="*/ 2147483646 w 77"/>
                      <a:gd name="T91" fmla="*/ 2147483646 h 142"/>
                      <a:gd name="T92" fmla="*/ 2147483646 w 77"/>
                      <a:gd name="T93" fmla="*/ 0 h 1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7"/>
                      <a:gd name="T142" fmla="*/ 0 h 142"/>
                      <a:gd name="T143" fmla="*/ 77 w 77"/>
                      <a:gd name="T144" fmla="*/ 142 h 1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7" h="142">
                        <a:moveTo>
                          <a:pt x="27" y="0"/>
                        </a:moveTo>
                        <a:lnTo>
                          <a:pt x="30" y="2"/>
                        </a:lnTo>
                        <a:lnTo>
                          <a:pt x="31" y="3"/>
                        </a:lnTo>
                        <a:lnTo>
                          <a:pt x="36" y="5"/>
                        </a:lnTo>
                        <a:lnTo>
                          <a:pt x="39" y="6"/>
                        </a:lnTo>
                        <a:lnTo>
                          <a:pt x="43" y="9"/>
                        </a:lnTo>
                        <a:lnTo>
                          <a:pt x="46" y="10"/>
                        </a:lnTo>
                        <a:lnTo>
                          <a:pt x="48" y="13"/>
                        </a:lnTo>
                        <a:lnTo>
                          <a:pt x="54" y="16"/>
                        </a:lnTo>
                        <a:lnTo>
                          <a:pt x="62" y="16"/>
                        </a:lnTo>
                        <a:lnTo>
                          <a:pt x="62" y="27"/>
                        </a:lnTo>
                        <a:lnTo>
                          <a:pt x="77" y="36"/>
                        </a:lnTo>
                        <a:lnTo>
                          <a:pt x="77" y="43"/>
                        </a:lnTo>
                        <a:lnTo>
                          <a:pt x="76" y="44"/>
                        </a:lnTo>
                        <a:lnTo>
                          <a:pt x="76" y="47"/>
                        </a:lnTo>
                        <a:lnTo>
                          <a:pt x="74" y="49"/>
                        </a:lnTo>
                        <a:lnTo>
                          <a:pt x="74" y="52"/>
                        </a:lnTo>
                        <a:lnTo>
                          <a:pt x="71" y="55"/>
                        </a:lnTo>
                        <a:lnTo>
                          <a:pt x="76" y="59"/>
                        </a:lnTo>
                        <a:lnTo>
                          <a:pt x="76" y="61"/>
                        </a:lnTo>
                        <a:lnTo>
                          <a:pt x="74" y="62"/>
                        </a:lnTo>
                        <a:lnTo>
                          <a:pt x="74" y="73"/>
                        </a:lnTo>
                        <a:lnTo>
                          <a:pt x="77" y="76"/>
                        </a:lnTo>
                        <a:lnTo>
                          <a:pt x="77" y="80"/>
                        </a:lnTo>
                        <a:lnTo>
                          <a:pt x="76" y="83"/>
                        </a:lnTo>
                        <a:lnTo>
                          <a:pt x="74" y="87"/>
                        </a:lnTo>
                        <a:lnTo>
                          <a:pt x="74" y="92"/>
                        </a:lnTo>
                        <a:lnTo>
                          <a:pt x="73" y="96"/>
                        </a:lnTo>
                        <a:lnTo>
                          <a:pt x="71" y="104"/>
                        </a:lnTo>
                        <a:lnTo>
                          <a:pt x="71" y="114"/>
                        </a:lnTo>
                        <a:lnTo>
                          <a:pt x="73" y="120"/>
                        </a:lnTo>
                        <a:lnTo>
                          <a:pt x="74" y="121"/>
                        </a:lnTo>
                        <a:lnTo>
                          <a:pt x="74" y="124"/>
                        </a:lnTo>
                        <a:lnTo>
                          <a:pt x="76" y="127"/>
                        </a:lnTo>
                        <a:lnTo>
                          <a:pt x="76" y="130"/>
                        </a:lnTo>
                        <a:lnTo>
                          <a:pt x="67" y="132"/>
                        </a:lnTo>
                        <a:lnTo>
                          <a:pt x="64" y="132"/>
                        </a:lnTo>
                        <a:lnTo>
                          <a:pt x="59" y="138"/>
                        </a:lnTo>
                        <a:lnTo>
                          <a:pt x="48" y="133"/>
                        </a:lnTo>
                        <a:lnTo>
                          <a:pt x="33" y="142"/>
                        </a:lnTo>
                        <a:lnTo>
                          <a:pt x="15" y="133"/>
                        </a:lnTo>
                        <a:lnTo>
                          <a:pt x="14" y="132"/>
                        </a:lnTo>
                        <a:lnTo>
                          <a:pt x="11" y="130"/>
                        </a:lnTo>
                        <a:lnTo>
                          <a:pt x="9" y="129"/>
                        </a:lnTo>
                        <a:lnTo>
                          <a:pt x="9" y="124"/>
                        </a:lnTo>
                        <a:lnTo>
                          <a:pt x="12" y="123"/>
                        </a:lnTo>
                        <a:lnTo>
                          <a:pt x="17" y="118"/>
                        </a:lnTo>
                        <a:lnTo>
                          <a:pt x="17" y="105"/>
                        </a:lnTo>
                        <a:lnTo>
                          <a:pt x="14" y="107"/>
                        </a:lnTo>
                        <a:lnTo>
                          <a:pt x="12" y="107"/>
                        </a:lnTo>
                        <a:lnTo>
                          <a:pt x="9" y="108"/>
                        </a:lnTo>
                        <a:lnTo>
                          <a:pt x="5" y="108"/>
                        </a:lnTo>
                        <a:lnTo>
                          <a:pt x="0" y="104"/>
                        </a:lnTo>
                        <a:lnTo>
                          <a:pt x="2" y="101"/>
                        </a:lnTo>
                        <a:lnTo>
                          <a:pt x="2" y="96"/>
                        </a:lnTo>
                        <a:lnTo>
                          <a:pt x="0" y="95"/>
                        </a:lnTo>
                        <a:lnTo>
                          <a:pt x="0" y="86"/>
                        </a:lnTo>
                        <a:lnTo>
                          <a:pt x="9" y="92"/>
                        </a:lnTo>
                        <a:lnTo>
                          <a:pt x="12" y="95"/>
                        </a:lnTo>
                        <a:lnTo>
                          <a:pt x="14" y="93"/>
                        </a:lnTo>
                        <a:lnTo>
                          <a:pt x="14" y="90"/>
                        </a:lnTo>
                        <a:lnTo>
                          <a:pt x="15" y="87"/>
                        </a:lnTo>
                        <a:lnTo>
                          <a:pt x="15" y="84"/>
                        </a:lnTo>
                        <a:lnTo>
                          <a:pt x="17" y="80"/>
                        </a:lnTo>
                        <a:lnTo>
                          <a:pt x="17" y="77"/>
                        </a:lnTo>
                        <a:lnTo>
                          <a:pt x="18" y="74"/>
                        </a:lnTo>
                        <a:lnTo>
                          <a:pt x="18" y="73"/>
                        </a:lnTo>
                        <a:lnTo>
                          <a:pt x="20" y="70"/>
                        </a:lnTo>
                        <a:lnTo>
                          <a:pt x="20" y="65"/>
                        </a:lnTo>
                        <a:lnTo>
                          <a:pt x="18" y="62"/>
                        </a:lnTo>
                        <a:lnTo>
                          <a:pt x="18" y="58"/>
                        </a:lnTo>
                        <a:lnTo>
                          <a:pt x="17" y="55"/>
                        </a:lnTo>
                        <a:lnTo>
                          <a:pt x="17" y="50"/>
                        </a:lnTo>
                        <a:lnTo>
                          <a:pt x="15" y="49"/>
                        </a:lnTo>
                        <a:lnTo>
                          <a:pt x="15" y="47"/>
                        </a:lnTo>
                        <a:lnTo>
                          <a:pt x="12" y="47"/>
                        </a:lnTo>
                        <a:lnTo>
                          <a:pt x="9" y="46"/>
                        </a:lnTo>
                        <a:lnTo>
                          <a:pt x="6" y="43"/>
                        </a:lnTo>
                        <a:lnTo>
                          <a:pt x="5" y="40"/>
                        </a:lnTo>
                        <a:lnTo>
                          <a:pt x="5" y="33"/>
                        </a:lnTo>
                        <a:lnTo>
                          <a:pt x="12" y="33"/>
                        </a:lnTo>
                        <a:lnTo>
                          <a:pt x="21" y="30"/>
                        </a:lnTo>
                        <a:lnTo>
                          <a:pt x="25" y="27"/>
                        </a:lnTo>
                        <a:lnTo>
                          <a:pt x="28" y="25"/>
                        </a:lnTo>
                        <a:lnTo>
                          <a:pt x="31" y="22"/>
                        </a:lnTo>
                        <a:lnTo>
                          <a:pt x="30" y="22"/>
                        </a:lnTo>
                        <a:lnTo>
                          <a:pt x="28" y="21"/>
                        </a:lnTo>
                        <a:lnTo>
                          <a:pt x="25" y="19"/>
                        </a:lnTo>
                        <a:lnTo>
                          <a:pt x="22" y="13"/>
                        </a:lnTo>
                        <a:lnTo>
                          <a:pt x="22" y="10"/>
                        </a:lnTo>
                        <a:lnTo>
                          <a:pt x="24" y="6"/>
                        </a:lnTo>
                        <a:lnTo>
                          <a:pt x="25" y="3"/>
                        </a:lnTo>
                        <a:lnTo>
                          <a:pt x="27" y="2"/>
                        </a:lnTo>
                        <a:lnTo>
                          <a:pt x="27" y="0"/>
                        </a:lnTo>
                        <a:close/>
                      </a:path>
                    </a:pathLst>
                  </a:custGeom>
                  <a:solidFill>
                    <a:schemeClr val="accent1">
                      <a:lumMod val="75000"/>
                    </a:schemeClr>
                  </a:solidFill>
                  <a:ln w="9525" cap="flat" cmpd="sng">
                    <a:solidFill>
                      <a:schemeClr val="bg1"/>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5" name="Freeform 274" descr="© INSCALE GmbH, 21.06.2010"/>
                  <p:cNvSpPr>
                    <a:spLocks noChangeAspect="1"/>
                  </p:cNvSpPr>
                  <p:nvPr/>
                </p:nvSpPr>
                <p:spPr bwMode="auto">
                  <a:xfrm>
                    <a:off x="3105362" y="3966438"/>
                    <a:ext cx="98883" cy="143309"/>
                  </a:xfrm>
                  <a:custGeom>
                    <a:avLst/>
                    <a:gdLst>
                      <a:gd name="T0" fmla="*/ 2147483646 w 101"/>
                      <a:gd name="T1" fmla="*/ 0 h 143"/>
                      <a:gd name="T2" fmla="*/ 2147483646 w 101"/>
                      <a:gd name="T3" fmla="*/ 2147483646 h 143"/>
                      <a:gd name="T4" fmla="*/ 2147483646 w 101"/>
                      <a:gd name="T5" fmla="*/ 2147483646 h 143"/>
                      <a:gd name="T6" fmla="*/ 2147483646 w 101"/>
                      <a:gd name="T7" fmla="*/ 2147483646 h 143"/>
                      <a:gd name="T8" fmla="*/ 2147483646 w 101"/>
                      <a:gd name="T9" fmla="*/ 2147483646 h 143"/>
                      <a:gd name="T10" fmla="*/ 2147483646 w 101"/>
                      <a:gd name="T11" fmla="*/ 2147483646 h 143"/>
                      <a:gd name="T12" fmla="*/ 2147483646 w 101"/>
                      <a:gd name="T13" fmla="*/ 2147483646 h 143"/>
                      <a:gd name="T14" fmla="*/ 2147483646 w 101"/>
                      <a:gd name="T15" fmla="*/ 2147483646 h 143"/>
                      <a:gd name="T16" fmla="*/ 2147483646 w 101"/>
                      <a:gd name="T17" fmla="*/ 2147483646 h 143"/>
                      <a:gd name="T18" fmla="*/ 2147483646 w 101"/>
                      <a:gd name="T19" fmla="*/ 2147483646 h 143"/>
                      <a:gd name="T20" fmla="*/ 2147483646 w 101"/>
                      <a:gd name="T21" fmla="*/ 2147483646 h 143"/>
                      <a:gd name="T22" fmla="*/ 2147483646 w 101"/>
                      <a:gd name="T23" fmla="*/ 2147483646 h 143"/>
                      <a:gd name="T24" fmla="*/ 2147483646 w 101"/>
                      <a:gd name="T25" fmla="*/ 2147483646 h 143"/>
                      <a:gd name="T26" fmla="*/ 2147483646 w 101"/>
                      <a:gd name="T27" fmla="*/ 2147483646 h 143"/>
                      <a:gd name="T28" fmla="*/ 2147483646 w 101"/>
                      <a:gd name="T29" fmla="*/ 2147483646 h 143"/>
                      <a:gd name="T30" fmla="*/ 2147483646 w 101"/>
                      <a:gd name="T31" fmla="*/ 2147483646 h 143"/>
                      <a:gd name="T32" fmla="*/ 2147483646 w 101"/>
                      <a:gd name="T33" fmla="*/ 2147483646 h 143"/>
                      <a:gd name="T34" fmla="*/ 2147483646 w 101"/>
                      <a:gd name="T35" fmla="*/ 2147483646 h 143"/>
                      <a:gd name="T36" fmla="*/ 2147483646 w 101"/>
                      <a:gd name="T37" fmla="*/ 2147483646 h 143"/>
                      <a:gd name="T38" fmla="*/ 2147483646 w 101"/>
                      <a:gd name="T39" fmla="*/ 2147483646 h 143"/>
                      <a:gd name="T40" fmla="*/ 2147483646 w 101"/>
                      <a:gd name="T41" fmla="*/ 2147483646 h 143"/>
                      <a:gd name="T42" fmla="*/ 2147483646 w 101"/>
                      <a:gd name="T43" fmla="*/ 2147483646 h 143"/>
                      <a:gd name="T44" fmla="*/ 2147483646 w 101"/>
                      <a:gd name="T45" fmla="*/ 2147483646 h 143"/>
                      <a:gd name="T46" fmla="*/ 2147483646 w 101"/>
                      <a:gd name="T47" fmla="*/ 2147483646 h 143"/>
                      <a:gd name="T48" fmla="*/ 2147483646 w 101"/>
                      <a:gd name="T49" fmla="*/ 2147483646 h 143"/>
                      <a:gd name="T50" fmla="*/ 2147483646 w 101"/>
                      <a:gd name="T51" fmla="*/ 2147483646 h 143"/>
                      <a:gd name="T52" fmla="*/ 2147483646 w 101"/>
                      <a:gd name="T53" fmla="*/ 2147483646 h 143"/>
                      <a:gd name="T54" fmla="*/ 2147483646 w 101"/>
                      <a:gd name="T55" fmla="*/ 2147483646 h 143"/>
                      <a:gd name="T56" fmla="*/ 2147483646 w 101"/>
                      <a:gd name="T57" fmla="*/ 2147483646 h 143"/>
                      <a:gd name="T58" fmla="*/ 2147483646 w 101"/>
                      <a:gd name="T59" fmla="*/ 2147483646 h 143"/>
                      <a:gd name="T60" fmla="*/ 2147483646 w 101"/>
                      <a:gd name="T61" fmla="*/ 2147483646 h 143"/>
                      <a:gd name="T62" fmla="*/ 2147483646 w 101"/>
                      <a:gd name="T63" fmla="*/ 2147483646 h 143"/>
                      <a:gd name="T64" fmla="*/ 2147483646 w 101"/>
                      <a:gd name="T65" fmla="*/ 2147483646 h 143"/>
                      <a:gd name="T66" fmla="*/ 2147483646 w 101"/>
                      <a:gd name="T67" fmla="*/ 2147483646 h 143"/>
                      <a:gd name="T68" fmla="*/ 2147483646 w 101"/>
                      <a:gd name="T69" fmla="*/ 2147483646 h 143"/>
                      <a:gd name="T70" fmla="*/ 2147483646 w 101"/>
                      <a:gd name="T71" fmla="*/ 2147483646 h 143"/>
                      <a:gd name="T72" fmla="*/ 2147483646 w 101"/>
                      <a:gd name="T73" fmla="*/ 2147483646 h 143"/>
                      <a:gd name="T74" fmla="*/ 2147483646 w 101"/>
                      <a:gd name="T75" fmla="*/ 2147483646 h 143"/>
                      <a:gd name="T76" fmla="*/ 2147483646 w 101"/>
                      <a:gd name="T77" fmla="*/ 2147483646 h 143"/>
                      <a:gd name="T78" fmla="*/ 0 w 101"/>
                      <a:gd name="T79" fmla="*/ 2147483646 h 143"/>
                      <a:gd name="T80" fmla="*/ 2147483646 w 101"/>
                      <a:gd name="T81" fmla="*/ 2147483646 h 143"/>
                      <a:gd name="T82" fmla="*/ 2147483646 w 101"/>
                      <a:gd name="T83" fmla="*/ 2147483646 h 143"/>
                      <a:gd name="T84" fmla="*/ 2147483646 w 101"/>
                      <a:gd name="T85" fmla="*/ 2147483646 h 143"/>
                      <a:gd name="T86" fmla="*/ 2147483646 w 101"/>
                      <a:gd name="T87" fmla="*/ 2147483646 h 143"/>
                      <a:gd name="T88" fmla="*/ 2147483646 w 101"/>
                      <a:gd name="T89" fmla="*/ 2147483646 h 143"/>
                      <a:gd name="T90" fmla="*/ 2147483646 w 101"/>
                      <a:gd name="T91" fmla="*/ 2147483646 h 143"/>
                      <a:gd name="T92" fmla="*/ 2147483646 w 101"/>
                      <a:gd name="T93" fmla="*/ 2147483646 h 143"/>
                      <a:gd name="T94" fmla="*/ 2147483646 w 101"/>
                      <a:gd name="T95" fmla="*/ 2147483646 h 143"/>
                      <a:gd name="T96" fmla="*/ 2147483646 w 101"/>
                      <a:gd name="T97" fmla="*/ 2147483646 h 143"/>
                      <a:gd name="T98" fmla="*/ 2147483646 w 101"/>
                      <a:gd name="T99" fmla="*/ 2147483646 h 1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1"/>
                      <a:gd name="T151" fmla="*/ 0 h 143"/>
                      <a:gd name="T152" fmla="*/ 101 w 101"/>
                      <a:gd name="T153" fmla="*/ 143 h 14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1" h="143">
                        <a:moveTo>
                          <a:pt x="46" y="0"/>
                        </a:moveTo>
                        <a:lnTo>
                          <a:pt x="49" y="0"/>
                        </a:lnTo>
                        <a:lnTo>
                          <a:pt x="47" y="15"/>
                        </a:lnTo>
                        <a:lnTo>
                          <a:pt x="52" y="19"/>
                        </a:lnTo>
                        <a:lnTo>
                          <a:pt x="52" y="20"/>
                        </a:lnTo>
                        <a:lnTo>
                          <a:pt x="50" y="22"/>
                        </a:lnTo>
                        <a:lnTo>
                          <a:pt x="49" y="25"/>
                        </a:lnTo>
                        <a:lnTo>
                          <a:pt x="46" y="34"/>
                        </a:lnTo>
                        <a:lnTo>
                          <a:pt x="46" y="44"/>
                        </a:lnTo>
                        <a:lnTo>
                          <a:pt x="67" y="47"/>
                        </a:lnTo>
                        <a:lnTo>
                          <a:pt x="84" y="56"/>
                        </a:lnTo>
                        <a:lnTo>
                          <a:pt x="87" y="51"/>
                        </a:lnTo>
                        <a:lnTo>
                          <a:pt x="89" y="49"/>
                        </a:lnTo>
                        <a:lnTo>
                          <a:pt x="92" y="47"/>
                        </a:lnTo>
                        <a:lnTo>
                          <a:pt x="93" y="47"/>
                        </a:lnTo>
                        <a:lnTo>
                          <a:pt x="96" y="49"/>
                        </a:lnTo>
                        <a:lnTo>
                          <a:pt x="99" y="49"/>
                        </a:lnTo>
                        <a:lnTo>
                          <a:pt x="101" y="50"/>
                        </a:lnTo>
                        <a:lnTo>
                          <a:pt x="99" y="51"/>
                        </a:lnTo>
                        <a:lnTo>
                          <a:pt x="99" y="53"/>
                        </a:lnTo>
                        <a:lnTo>
                          <a:pt x="96" y="56"/>
                        </a:lnTo>
                        <a:lnTo>
                          <a:pt x="96" y="71"/>
                        </a:lnTo>
                        <a:lnTo>
                          <a:pt x="74" y="71"/>
                        </a:lnTo>
                        <a:lnTo>
                          <a:pt x="74" y="85"/>
                        </a:lnTo>
                        <a:lnTo>
                          <a:pt x="77" y="88"/>
                        </a:lnTo>
                        <a:lnTo>
                          <a:pt x="84" y="88"/>
                        </a:lnTo>
                        <a:lnTo>
                          <a:pt x="84" y="96"/>
                        </a:lnTo>
                        <a:lnTo>
                          <a:pt x="92" y="102"/>
                        </a:lnTo>
                        <a:lnTo>
                          <a:pt x="92" y="103"/>
                        </a:lnTo>
                        <a:lnTo>
                          <a:pt x="90" y="105"/>
                        </a:lnTo>
                        <a:lnTo>
                          <a:pt x="89" y="108"/>
                        </a:lnTo>
                        <a:lnTo>
                          <a:pt x="86" y="111"/>
                        </a:lnTo>
                        <a:lnTo>
                          <a:pt x="83" y="117"/>
                        </a:lnTo>
                        <a:lnTo>
                          <a:pt x="83" y="122"/>
                        </a:lnTo>
                        <a:lnTo>
                          <a:pt x="84" y="124"/>
                        </a:lnTo>
                        <a:lnTo>
                          <a:pt x="86" y="128"/>
                        </a:lnTo>
                        <a:lnTo>
                          <a:pt x="93" y="136"/>
                        </a:lnTo>
                        <a:lnTo>
                          <a:pt x="89" y="140"/>
                        </a:lnTo>
                        <a:lnTo>
                          <a:pt x="83" y="143"/>
                        </a:lnTo>
                        <a:lnTo>
                          <a:pt x="81" y="143"/>
                        </a:lnTo>
                        <a:lnTo>
                          <a:pt x="80" y="142"/>
                        </a:lnTo>
                        <a:lnTo>
                          <a:pt x="77" y="142"/>
                        </a:lnTo>
                        <a:lnTo>
                          <a:pt x="74" y="140"/>
                        </a:lnTo>
                        <a:lnTo>
                          <a:pt x="70" y="139"/>
                        </a:lnTo>
                        <a:lnTo>
                          <a:pt x="62" y="139"/>
                        </a:lnTo>
                        <a:lnTo>
                          <a:pt x="61" y="136"/>
                        </a:lnTo>
                        <a:lnTo>
                          <a:pt x="61" y="131"/>
                        </a:lnTo>
                        <a:lnTo>
                          <a:pt x="64" y="125"/>
                        </a:lnTo>
                        <a:lnTo>
                          <a:pt x="65" y="124"/>
                        </a:lnTo>
                        <a:lnTo>
                          <a:pt x="64" y="121"/>
                        </a:lnTo>
                        <a:lnTo>
                          <a:pt x="62" y="119"/>
                        </a:lnTo>
                        <a:lnTo>
                          <a:pt x="61" y="119"/>
                        </a:lnTo>
                        <a:lnTo>
                          <a:pt x="58" y="121"/>
                        </a:lnTo>
                        <a:lnTo>
                          <a:pt x="56" y="122"/>
                        </a:lnTo>
                        <a:lnTo>
                          <a:pt x="55" y="125"/>
                        </a:lnTo>
                        <a:lnTo>
                          <a:pt x="52" y="127"/>
                        </a:lnTo>
                        <a:lnTo>
                          <a:pt x="50" y="128"/>
                        </a:lnTo>
                        <a:lnTo>
                          <a:pt x="47" y="130"/>
                        </a:lnTo>
                        <a:lnTo>
                          <a:pt x="46" y="130"/>
                        </a:lnTo>
                        <a:lnTo>
                          <a:pt x="44" y="131"/>
                        </a:lnTo>
                        <a:lnTo>
                          <a:pt x="43" y="131"/>
                        </a:lnTo>
                        <a:lnTo>
                          <a:pt x="40" y="128"/>
                        </a:lnTo>
                        <a:lnTo>
                          <a:pt x="40" y="108"/>
                        </a:lnTo>
                        <a:lnTo>
                          <a:pt x="38" y="105"/>
                        </a:lnTo>
                        <a:lnTo>
                          <a:pt x="37" y="103"/>
                        </a:lnTo>
                        <a:lnTo>
                          <a:pt x="34" y="103"/>
                        </a:lnTo>
                        <a:lnTo>
                          <a:pt x="31" y="105"/>
                        </a:lnTo>
                        <a:lnTo>
                          <a:pt x="28" y="105"/>
                        </a:lnTo>
                        <a:lnTo>
                          <a:pt x="27" y="106"/>
                        </a:lnTo>
                        <a:lnTo>
                          <a:pt x="21" y="106"/>
                        </a:lnTo>
                        <a:lnTo>
                          <a:pt x="18" y="105"/>
                        </a:lnTo>
                        <a:lnTo>
                          <a:pt x="16" y="102"/>
                        </a:lnTo>
                        <a:lnTo>
                          <a:pt x="16" y="91"/>
                        </a:lnTo>
                        <a:lnTo>
                          <a:pt x="15" y="88"/>
                        </a:lnTo>
                        <a:lnTo>
                          <a:pt x="15" y="84"/>
                        </a:lnTo>
                        <a:lnTo>
                          <a:pt x="13" y="81"/>
                        </a:lnTo>
                        <a:lnTo>
                          <a:pt x="13" y="78"/>
                        </a:lnTo>
                        <a:lnTo>
                          <a:pt x="2" y="78"/>
                        </a:lnTo>
                        <a:lnTo>
                          <a:pt x="0" y="77"/>
                        </a:lnTo>
                        <a:lnTo>
                          <a:pt x="0" y="75"/>
                        </a:lnTo>
                        <a:lnTo>
                          <a:pt x="3" y="72"/>
                        </a:lnTo>
                        <a:lnTo>
                          <a:pt x="4" y="72"/>
                        </a:lnTo>
                        <a:lnTo>
                          <a:pt x="7" y="71"/>
                        </a:lnTo>
                        <a:lnTo>
                          <a:pt x="9" y="68"/>
                        </a:lnTo>
                        <a:lnTo>
                          <a:pt x="13" y="63"/>
                        </a:lnTo>
                        <a:lnTo>
                          <a:pt x="15" y="60"/>
                        </a:lnTo>
                        <a:lnTo>
                          <a:pt x="16" y="59"/>
                        </a:lnTo>
                        <a:lnTo>
                          <a:pt x="13" y="57"/>
                        </a:lnTo>
                        <a:lnTo>
                          <a:pt x="12" y="56"/>
                        </a:lnTo>
                        <a:lnTo>
                          <a:pt x="9" y="54"/>
                        </a:lnTo>
                        <a:lnTo>
                          <a:pt x="6" y="49"/>
                        </a:lnTo>
                        <a:lnTo>
                          <a:pt x="7" y="46"/>
                        </a:lnTo>
                        <a:lnTo>
                          <a:pt x="13" y="38"/>
                        </a:lnTo>
                        <a:lnTo>
                          <a:pt x="18" y="31"/>
                        </a:lnTo>
                        <a:lnTo>
                          <a:pt x="21" y="22"/>
                        </a:lnTo>
                        <a:lnTo>
                          <a:pt x="19" y="17"/>
                        </a:lnTo>
                        <a:lnTo>
                          <a:pt x="16" y="12"/>
                        </a:lnTo>
                        <a:lnTo>
                          <a:pt x="15" y="10"/>
                        </a:lnTo>
                        <a:lnTo>
                          <a:pt x="30" y="1"/>
                        </a:lnTo>
                        <a:lnTo>
                          <a:pt x="41" y="6"/>
                        </a:lnTo>
                        <a:lnTo>
                          <a:pt x="46" y="0"/>
                        </a:lnTo>
                        <a:close/>
                      </a:path>
                    </a:pathLst>
                  </a:custGeom>
                  <a:solidFill>
                    <a:schemeClr val="accent3">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6" name="Freeform 275" descr="© INSCALE GmbH, 21.06.2010"/>
                  <p:cNvSpPr>
                    <a:spLocks noChangeAspect="1"/>
                  </p:cNvSpPr>
                  <p:nvPr/>
                </p:nvSpPr>
                <p:spPr bwMode="auto">
                  <a:xfrm>
                    <a:off x="3150146" y="3831882"/>
                    <a:ext cx="52713" cy="76295"/>
                  </a:xfrm>
                  <a:custGeom>
                    <a:avLst/>
                    <a:gdLst>
                      <a:gd name="T0" fmla="*/ 2147483646 w 55"/>
                      <a:gd name="T1" fmla="*/ 0 h 78"/>
                      <a:gd name="T2" fmla="*/ 2147483646 w 55"/>
                      <a:gd name="T3" fmla="*/ 0 h 78"/>
                      <a:gd name="T4" fmla="*/ 2147483646 w 55"/>
                      <a:gd name="T5" fmla="*/ 2147483646 h 78"/>
                      <a:gd name="T6" fmla="*/ 2147483646 w 55"/>
                      <a:gd name="T7" fmla="*/ 2147483646 h 78"/>
                      <a:gd name="T8" fmla="*/ 2147483646 w 55"/>
                      <a:gd name="T9" fmla="*/ 2147483646 h 78"/>
                      <a:gd name="T10" fmla="*/ 2147483646 w 55"/>
                      <a:gd name="T11" fmla="*/ 2147483646 h 78"/>
                      <a:gd name="T12" fmla="*/ 2147483646 w 55"/>
                      <a:gd name="T13" fmla="*/ 2147483646 h 78"/>
                      <a:gd name="T14" fmla="*/ 2147483646 w 55"/>
                      <a:gd name="T15" fmla="*/ 2147483646 h 78"/>
                      <a:gd name="T16" fmla="*/ 2147483646 w 55"/>
                      <a:gd name="T17" fmla="*/ 2147483646 h 78"/>
                      <a:gd name="T18" fmla="*/ 2147483646 w 55"/>
                      <a:gd name="T19" fmla="*/ 2147483646 h 78"/>
                      <a:gd name="T20" fmla="*/ 2147483646 w 55"/>
                      <a:gd name="T21" fmla="*/ 2147483646 h 78"/>
                      <a:gd name="T22" fmla="*/ 2147483646 w 55"/>
                      <a:gd name="T23" fmla="*/ 2147483646 h 78"/>
                      <a:gd name="T24" fmla="*/ 2147483646 w 55"/>
                      <a:gd name="T25" fmla="*/ 2147483646 h 78"/>
                      <a:gd name="T26" fmla="*/ 2147483646 w 55"/>
                      <a:gd name="T27" fmla="*/ 2147483646 h 78"/>
                      <a:gd name="T28" fmla="*/ 2147483646 w 55"/>
                      <a:gd name="T29" fmla="*/ 2147483646 h 78"/>
                      <a:gd name="T30" fmla="*/ 2147483646 w 55"/>
                      <a:gd name="T31" fmla="*/ 2147483646 h 78"/>
                      <a:gd name="T32" fmla="*/ 2147483646 w 55"/>
                      <a:gd name="T33" fmla="*/ 2147483646 h 78"/>
                      <a:gd name="T34" fmla="*/ 2147483646 w 55"/>
                      <a:gd name="T35" fmla="*/ 2147483646 h 78"/>
                      <a:gd name="T36" fmla="*/ 2147483646 w 55"/>
                      <a:gd name="T37" fmla="*/ 2147483646 h 78"/>
                      <a:gd name="T38" fmla="*/ 2147483646 w 55"/>
                      <a:gd name="T39" fmla="*/ 2147483646 h 78"/>
                      <a:gd name="T40" fmla="*/ 2147483646 w 55"/>
                      <a:gd name="T41" fmla="*/ 2147483646 h 78"/>
                      <a:gd name="T42" fmla="*/ 2147483646 w 55"/>
                      <a:gd name="T43" fmla="*/ 2147483646 h 78"/>
                      <a:gd name="T44" fmla="*/ 2147483646 w 55"/>
                      <a:gd name="T45" fmla="*/ 2147483646 h 78"/>
                      <a:gd name="T46" fmla="*/ 2147483646 w 55"/>
                      <a:gd name="T47" fmla="*/ 2147483646 h 78"/>
                      <a:gd name="T48" fmla="*/ 2147483646 w 55"/>
                      <a:gd name="T49" fmla="*/ 2147483646 h 78"/>
                      <a:gd name="T50" fmla="*/ 2147483646 w 55"/>
                      <a:gd name="T51" fmla="*/ 2147483646 h 78"/>
                      <a:gd name="T52" fmla="*/ 2147483646 w 55"/>
                      <a:gd name="T53" fmla="*/ 2147483646 h 78"/>
                      <a:gd name="T54" fmla="*/ 2147483646 w 55"/>
                      <a:gd name="T55" fmla="*/ 2147483646 h 78"/>
                      <a:gd name="T56" fmla="*/ 2147483646 w 55"/>
                      <a:gd name="T57" fmla="*/ 2147483646 h 78"/>
                      <a:gd name="T58" fmla="*/ 2147483646 w 55"/>
                      <a:gd name="T59" fmla="*/ 2147483646 h 78"/>
                      <a:gd name="T60" fmla="*/ 2147483646 w 55"/>
                      <a:gd name="T61" fmla="*/ 2147483646 h 78"/>
                      <a:gd name="T62" fmla="*/ 2147483646 w 55"/>
                      <a:gd name="T63" fmla="*/ 2147483646 h 78"/>
                      <a:gd name="T64" fmla="*/ 2147483646 w 55"/>
                      <a:gd name="T65" fmla="*/ 2147483646 h 78"/>
                      <a:gd name="T66" fmla="*/ 2147483646 w 55"/>
                      <a:gd name="T67" fmla="*/ 2147483646 h 78"/>
                      <a:gd name="T68" fmla="*/ 2147483646 w 55"/>
                      <a:gd name="T69" fmla="*/ 2147483646 h 78"/>
                      <a:gd name="T70" fmla="*/ 2147483646 w 55"/>
                      <a:gd name="T71" fmla="*/ 2147483646 h 78"/>
                      <a:gd name="T72" fmla="*/ 2147483646 w 55"/>
                      <a:gd name="T73" fmla="*/ 2147483646 h 78"/>
                      <a:gd name="T74" fmla="*/ 2147483646 w 55"/>
                      <a:gd name="T75" fmla="*/ 2147483646 h 78"/>
                      <a:gd name="T76" fmla="*/ 2147483646 w 55"/>
                      <a:gd name="T77" fmla="*/ 2147483646 h 78"/>
                      <a:gd name="T78" fmla="*/ 2147483646 w 55"/>
                      <a:gd name="T79" fmla="*/ 2147483646 h 78"/>
                      <a:gd name="T80" fmla="*/ 2147483646 w 55"/>
                      <a:gd name="T81" fmla="*/ 2147483646 h 78"/>
                      <a:gd name="T82" fmla="*/ 2147483646 w 55"/>
                      <a:gd name="T83" fmla="*/ 2147483646 h 78"/>
                      <a:gd name="T84" fmla="*/ 2147483646 w 55"/>
                      <a:gd name="T85" fmla="*/ 2147483646 h 78"/>
                      <a:gd name="T86" fmla="*/ 2147483646 w 55"/>
                      <a:gd name="T87" fmla="*/ 2147483646 h 78"/>
                      <a:gd name="T88" fmla="*/ 2147483646 w 55"/>
                      <a:gd name="T89" fmla="*/ 2147483646 h 78"/>
                      <a:gd name="T90" fmla="*/ 0 w 55"/>
                      <a:gd name="T91" fmla="*/ 2147483646 h 78"/>
                      <a:gd name="T92" fmla="*/ 0 w 55"/>
                      <a:gd name="T93" fmla="*/ 2147483646 h 78"/>
                      <a:gd name="T94" fmla="*/ 2147483646 w 55"/>
                      <a:gd name="T95" fmla="*/ 2147483646 h 78"/>
                      <a:gd name="T96" fmla="*/ 2147483646 w 55"/>
                      <a:gd name="T97" fmla="*/ 2147483646 h 78"/>
                      <a:gd name="T98" fmla="*/ 2147483646 w 55"/>
                      <a:gd name="T99" fmla="*/ 2147483646 h 78"/>
                      <a:gd name="T100" fmla="*/ 2147483646 w 55"/>
                      <a:gd name="T101" fmla="*/ 2147483646 h 78"/>
                      <a:gd name="T102" fmla="*/ 2147483646 w 55"/>
                      <a:gd name="T103" fmla="*/ 2147483646 h 78"/>
                      <a:gd name="T104" fmla="*/ 2147483646 w 55"/>
                      <a:gd name="T105" fmla="*/ 2147483646 h 78"/>
                      <a:gd name="T106" fmla="*/ 2147483646 w 55"/>
                      <a:gd name="T107" fmla="*/ 2147483646 h 78"/>
                      <a:gd name="T108" fmla="*/ 2147483646 w 55"/>
                      <a:gd name="T109" fmla="*/ 2147483646 h 78"/>
                      <a:gd name="T110" fmla="*/ 2147483646 w 55"/>
                      <a:gd name="T111" fmla="*/ 0 h 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5"/>
                      <a:gd name="T169" fmla="*/ 0 h 78"/>
                      <a:gd name="T170" fmla="*/ 55 w 55"/>
                      <a:gd name="T171" fmla="*/ 78 h 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5" h="78">
                        <a:moveTo>
                          <a:pt x="20" y="0"/>
                        </a:moveTo>
                        <a:lnTo>
                          <a:pt x="21" y="0"/>
                        </a:lnTo>
                        <a:lnTo>
                          <a:pt x="23" y="3"/>
                        </a:lnTo>
                        <a:lnTo>
                          <a:pt x="26" y="4"/>
                        </a:lnTo>
                        <a:lnTo>
                          <a:pt x="29" y="7"/>
                        </a:lnTo>
                        <a:lnTo>
                          <a:pt x="33" y="9"/>
                        </a:lnTo>
                        <a:lnTo>
                          <a:pt x="33" y="16"/>
                        </a:lnTo>
                        <a:lnTo>
                          <a:pt x="37" y="20"/>
                        </a:lnTo>
                        <a:lnTo>
                          <a:pt x="39" y="23"/>
                        </a:lnTo>
                        <a:lnTo>
                          <a:pt x="42" y="25"/>
                        </a:lnTo>
                        <a:lnTo>
                          <a:pt x="43" y="28"/>
                        </a:lnTo>
                        <a:lnTo>
                          <a:pt x="43" y="34"/>
                        </a:lnTo>
                        <a:lnTo>
                          <a:pt x="45" y="38"/>
                        </a:lnTo>
                        <a:lnTo>
                          <a:pt x="46" y="41"/>
                        </a:lnTo>
                        <a:lnTo>
                          <a:pt x="48" y="43"/>
                        </a:lnTo>
                        <a:lnTo>
                          <a:pt x="49" y="46"/>
                        </a:lnTo>
                        <a:lnTo>
                          <a:pt x="51" y="47"/>
                        </a:lnTo>
                        <a:lnTo>
                          <a:pt x="54" y="49"/>
                        </a:lnTo>
                        <a:lnTo>
                          <a:pt x="55" y="50"/>
                        </a:lnTo>
                        <a:lnTo>
                          <a:pt x="52" y="52"/>
                        </a:lnTo>
                        <a:lnTo>
                          <a:pt x="51" y="53"/>
                        </a:lnTo>
                        <a:lnTo>
                          <a:pt x="48" y="54"/>
                        </a:lnTo>
                        <a:lnTo>
                          <a:pt x="46" y="56"/>
                        </a:lnTo>
                        <a:lnTo>
                          <a:pt x="43" y="62"/>
                        </a:lnTo>
                        <a:lnTo>
                          <a:pt x="43" y="68"/>
                        </a:lnTo>
                        <a:lnTo>
                          <a:pt x="42" y="68"/>
                        </a:lnTo>
                        <a:lnTo>
                          <a:pt x="40" y="69"/>
                        </a:lnTo>
                        <a:lnTo>
                          <a:pt x="34" y="72"/>
                        </a:lnTo>
                        <a:lnTo>
                          <a:pt x="30" y="75"/>
                        </a:lnTo>
                        <a:lnTo>
                          <a:pt x="24" y="78"/>
                        </a:lnTo>
                        <a:lnTo>
                          <a:pt x="21" y="78"/>
                        </a:lnTo>
                        <a:lnTo>
                          <a:pt x="18" y="77"/>
                        </a:lnTo>
                        <a:lnTo>
                          <a:pt x="15" y="77"/>
                        </a:lnTo>
                        <a:lnTo>
                          <a:pt x="14" y="75"/>
                        </a:lnTo>
                        <a:lnTo>
                          <a:pt x="12" y="75"/>
                        </a:lnTo>
                        <a:lnTo>
                          <a:pt x="12" y="72"/>
                        </a:lnTo>
                        <a:lnTo>
                          <a:pt x="14" y="71"/>
                        </a:lnTo>
                        <a:lnTo>
                          <a:pt x="14" y="69"/>
                        </a:lnTo>
                        <a:lnTo>
                          <a:pt x="9" y="65"/>
                        </a:lnTo>
                        <a:lnTo>
                          <a:pt x="12" y="62"/>
                        </a:lnTo>
                        <a:lnTo>
                          <a:pt x="12" y="59"/>
                        </a:lnTo>
                        <a:lnTo>
                          <a:pt x="14" y="57"/>
                        </a:lnTo>
                        <a:lnTo>
                          <a:pt x="14" y="54"/>
                        </a:lnTo>
                        <a:lnTo>
                          <a:pt x="15" y="53"/>
                        </a:lnTo>
                        <a:lnTo>
                          <a:pt x="15" y="46"/>
                        </a:lnTo>
                        <a:lnTo>
                          <a:pt x="0" y="37"/>
                        </a:lnTo>
                        <a:lnTo>
                          <a:pt x="0" y="23"/>
                        </a:lnTo>
                        <a:lnTo>
                          <a:pt x="3" y="17"/>
                        </a:lnTo>
                        <a:lnTo>
                          <a:pt x="8" y="13"/>
                        </a:lnTo>
                        <a:lnTo>
                          <a:pt x="12" y="12"/>
                        </a:lnTo>
                        <a:lnTo>
                          <a:pt x="14" y="10"/>
                        </a:lnTo>
                        <a:lnTo>
                          <a:pt x="17" y="9"/>
                        </a:lnTo>
                        <a:lnTo>
                          <a:pt x="15" y="7"/>
                        </a:lnTo>
                        <a:lnTo>
                          <a:pt x="15" y="3"/>
                        </a:lnTo>
                        <a:lnTo>
                          <a:pt x="17" y="1"/>
                        </a:lnTo>
                        <a:lnTo>
                          <a:pt x="20"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7" name="Freeform 276" descr="© INSCALE GmbH, 21.06.2010"/>
                  <p:cNvSpPr>
                    <a:spLocks noChangeAspect="1"/>
                  </p:cNvSpPr>
                  <p:nvPr/>
                </p:nvSpPr>
                <p:spPr bwMode="auto">
                  <a:xfrm>
                    <a:off x="3169566" y="3793041"/>
                    <a:ext cx="61036" cy="88779"/>
                  </a:xfrm>
                  <a:custGeom>
                    <a:avLst/>
                    <a:gdLst>
                      <a:gd name="T0" fmla="*/ 2147483646 w 64"/>
                      <a:gd name="T1" fmla="*/ 0 h 92"/>
                      <a:gd name="T2" fmla="*/ 2147483646 w 64"/>
                      <a:gd name="T3" fmla="*/ 2147483646 h 92"/>
                      <a:gd name="T4" fmla="*/ 2147483646 w 64"/>
                      <a:gd name="T5" fmla="*/ 2147483646 h 92"/>
                      <a:gd name="T6" fmla="*/ 2147483646 w 64"/>
                      <a:gd name="T7" fmla="*/ 2147483646 h 92"/>
                      <a:gd name="T8" fmla="*/ 2147483646 w 64"/>
                      <a:gd name="T9" fmla="*/ 2147483646 h 92"/>
                      <a:gd name="T10" fmla="*/ 2147483646 w 64"/>
                      <a:gd name="T11" fmla="*/ 2147483646 h 92"/>
                      <a:gd name="T12" fmla="*/ 2147483646 w 64"/>
                      <a:gd name="T13" fmla="*/ 2147483646 h 92"/>
                      <a:gd name="T14" fmla="*/ 2147483646 w 64"/>
                      <a:gd name="T15" fmla="*/ 2147483646 h 92"/>
                      <a:gd name="T16" fmla="*/ 2147483646 w 64"/>
                      <a:gd name="T17" fmla="*/ 2147483646 h 92"/>
                      <a:gd name="T18" fmla="*/ 2147483646 w 64"/>
                      <a:gd name="T19" fmla="*/ 2147483646 h 92"/>
                      <a:gd name="T20" fmla="*/ 2147483646 w 64"/>
                      <a:gd name="T21" fmla="*/ 2147483646 h 92"/>
                      <a:gd name="T22" fmla="*/ 2147483646 w 64"/>
                      <a:gd name="T23" fmla="*/ 2147483646 h 92"/>
                      <a:gd name="T24" fmla="*/ 2147483646 w 64"/>
                      <a:gd name="T25" fmla="*/ 2147483646 h 92"/>
                      <a:gd name="T26" fmla="*/ 2147483646 w 64"/>
                      <a:gd name="T27" fmla="*/ 2147483646 h 92"/>
                      <a:gd name="T28" fmla="*/ 2147483646 w 64"/>
                      <a:gd name="T29" fmla="*/ 2147483646 h 92"/>
                      <a:gd name="T30" fmla="*/ 2147483646 w 64"/>
                      <a:gd name="T31" fmla="*/ 2147483646 h 92"/>
                      <a:gd name="T32" fmla="*/ 2147483646 w 64"/>
                      <a:gd name="T33" fmla="*/ 2147483646 h 92"/>
                      <a:gd name="T34" fmla="*/ 2147483646 w 64"/>
                      <a:gd name="T35" fmla="*/ 2147483646 h 92"/>
                      <a:gd name="T36" fmla="*/ 2147483646 w 64"/>
                      <a:gd name="T37" fmla="*/ 2147483646 h 92"/>
                      <a:gd name="T38" fmla="*/ 2147483646 w 64"/>
                      <a:gd name="T39" fmla="*/ 2147483646 h 92"/>
                      <a:gd name="T40" fmla="*/ 2147483646 w 64"/>
                      <a:gd name="T41" fmla="*/ 2147483646 h 92"/>
                      <a:gd name="T42" fmla="*/ 2147483646 w 64"/>
                      <a:gd name="T43" fmla="*/ 2147483646 h 92"/>
                      <a:gd name="T44" fmla="*/ 2147483646 w 64"/>
                      <a:gd name="T45" fmla="*/ 2147483646 h 92"/>
                      <a:gd name="T46" fmla="*/ 2147483646 w 64"/>
                      <a:gd name="T47" fmla="*/ 2147483646 h 92"/>
                      <a:gd name="T48" fmla="*/ 2147483646 w 64"/>
                      <a:gd name="T49" fmla="*/ 2147483646 h 92"/>
                      <a:gd name="T50" fmla="*/ 2147483646 w 64"/>
                      <a:gd name="T51" fmla="*/ 2147483646 h 92"/>
                      <a:gd name="T52" fmla="*/ 2147483646 w 64"/>
                      <a:gd name="T53" fmla="*/ 2147483646 h 92"/>
                      <a:gd name="T54" fmla="*/ 2147483646 w 64"/>
                      <a:gd name="T55" fmla="*/ 2147483646 h 92"/>
                      <a:gd name="T56" fmla="*/ 2147483646 w 64"/>
                      <a:gd name="T57" fmla="*/ 2147483646 h 92"/>
                      <a:gd name="T58" fmla="*/ 2147483646 w 64"/>
                      <a:gd name="T59" fmla="*/ 2147483646 h 92"/>
                      <a:gd name="T60" fmla="*/ 2147483646 w 64"/>
                      <a:gd name="T61" fmla="*/ 2147483646 h 92"/>
                      <a:gd name="T62" fmla="*/ 2147483646 w 64"/>
                      <a:gd name="T63" fmla="*/ 2147483646 h 92"/>
                      <a:gd name="T64" fmla="*/ 2147483646 w 64"/>
                      <a:gd name="T65" fmla="*/ 2147483646 h 92"/>
                      <a:gd name="T66" fmla="*/ 2147483646 w 64"/>
                      <a:gd name="T67" fmla="*/ 2147483646 h 92"/>
                      <a:gd name="T68" fmla="*/ 2147483646 w 64"/>
                      <a:gd name="T69" fmla="*/ 2147483646 h 92"/>
                      <a:gd name="T70" fmla="*/ 2147483646 w 64"/>
                      <a:gd name="T71" fmla="*/ 2147483646 h 92"/>
                      <a:gd name="T72" fmla="*/ 2147483646 w 64"/>
                      <a:gd name="T73" fmla="*/ 2147483646 h 92"/>
                      <a:gd name="T74" fmla="*/ 2147483646 w 64"/>
                      <a:gd name="T75" fmla="*/ 2147483646 h 92"/>
                      <a:gd name="T76" fmla="*/ 2147483646 w 64"/>
                      <a:gd name="T77" fmla="*/ 2147483646 h 92"/>
                      <a:gd name="T78" fmla="*/ 2147483646 w 64"/>
                      <a:gd name="T79" fmla="*/ 2147483646 h 92"/>
                      <a:gd name="T80" fmla="*/ 2147483646 w 64"/>
                      <a:gd name="T81" fmla="*/ 2147483646 h 92"/>
                      <a:gd name="T82" fmla="*/ 2147483646 w 64"/>
                      <a:gd name="T83" fmla="*/ 2147483646 h 92"/>
                      <a:gd name="T84" fmla="*/ 2147483646 w 64"/>
                      <a:gd name="T85" fmla="*/ 2147483646 h 92"/>
                      <a:gd name="T86" fmla="*/ 2147483646 w 64"/>
                      <a:gd name="T87" fmla="*/ 2147483646 h 92"/>
                      <a:gd name="T88" fmla="*/ 2147483646 w 64"/>
                      <a:gd name="T89" fmla="*/ 2147483646 h 92"/>
                      <a:gd name="T90" fmla="*/ 2147483646 w 64"/>
                      <a:gd name="T91" fmla="*/ 2147483646 h 92"/>
                      <a:gd name="T92" fmla="*/ 0 w 64"/>
                      <a:gd name="T93" fmla="*/ 2147483646 h 92"/>
                      <a:gd name="T94" fmla="*/ 2147483646 w 64"/>
                      <a:gd name="T95" fmla="*/ 2147483646 h 92"/>
                      <a:gd name="T96" fmla="*/ 2147483646 w 64"/>
                      <a:gd name="T97" fmla="*/ 2147483646 h 92"/>
                      <a:gd name="T98" fmla="*/ 2147483646 w 64"/>
                      <a:gd name="T99" fmla="*/ 2147483646 h 92"/>
                      <a:gd name="T100" fmla="*/ 2147483646 w 64"/>
                      <a:gd name="T101" fmla="*/ 2147483646 h 92"/>
                      <a:gd name="T102" fmla="*/ 2147483646 w 64"/>
                      <a:gd name="T103" fmla="*/ 2147483646 h 92"/>
                      <a:gd name="T104" fmla="*/ 2147483646 w 64"/>
                      <a:gd name="T105" fmla="*/ 2147483646 h 92"/>
                      <a:gd name="T106" fmla="*/ 2147483646 w 64"/>
                      <a:gd name="T107" fmla="*/ 2147483646 h 92"/>
                      <a:gd name="T108" fmla="*/ 2147483646 w 64"/>
                      <a:gd name="T109" fmla="*/ 2147483646 h 92"/>
                      <a:gd name="T110" fmla="*/ 2147483646 w 64"/>
                      <a:gd name="T111" fmla="*/ 2147483646 h 92"/>
                      <a:gd name="T112" fmla="*/ 2147483646 w 64"/>
                      <a:gd name="T113" fmla="*/ 2147483646 h 92"/>
                      <a:gd name="T114" fmla="*/ 2147483646 w 64"/>
                      <a:gd name="T115" fmla="*/ 2147483646 h 92"/>
                      <a:gd name="T116" fmla="*/ 2147483646 w 64"/>
                      <a:gd name="T117" fmla="*/ 2147483646 h 92"/>
                      <a:gd name="T118" fmla="*/ 2147483646 w 64"/>
                      <a:gd name="T119" fmla="*/ 2147483646 h 92"/>
                      <a:gd name="T120" fmla="*/ 2147483646 w 64"/>
                      <a:gd name="T121" fmla="*/ 2147483646 h 92"/>
                      <a:gd name="T122" fmla="*/ 2147483646 w 64"/>
                      <a:gd name="T123" fmla="*/ 2147483646 h 92"/>
                      <a:gd name="T124" fmla="*/ 2147483646 w 64"/>
                      <a:gd name="T125" fmla="*/ 0 h 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4"/>
                      <a:gd name="T190" fmla="*/ 0 h 92"/>
                      <a:gd name="T191" fmla="*/ 64 w 64"/>
                      <a:gd name="T192" fmla="*/ 92 h 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4" h="92">
                        <a:moveTo>
                          <a:pt x="40" y="0"/>
                        </a:moveTo>
                        <a:lnTo>
                          <a:pt x="53" y="12"/>
                        </a:lnTo>
                        <a:lnTo>
                          <a:pt x="64" y="15"/>
                        </a:lnTo>
                        <a:lnTo>
                          <a:pt x="58" y="15"/>
                        </a:lnTo>
                        <a:lnTo>
                          <a:pt x="58" y="23"/>
                        </a:lnTo>
                        <a:lnTo>
                          <a:pt x="56" y="25"/>
                        </a:lnTo>
                        <a:lnTo>
                          <a:pt x="55" y="28"/>
                        </a:lnTo>
                        <a:lnTo>
                          <a:pt x="49" y="31"/>
                        </a:lnTo>
                        <a:lnTo>
                          <a:pt x="46" y="34"/>
                        </a:lnTo>
                        <a:lnTo>
                          <a:pt x="43" y="34"/>
                        </a:lnTo>
                        <a:lnTo>
                          <a:pt x="42" y="35"/>
                        </a:lnTo>
                        <a:lnTo>
                          <a:pt x="39" y="37"/>
                        </a:lnTo>
                        <a:lnTo>
                          <a:pt x="39" y="40"/>
                        </a:lnTo>
                        <a:lnTo>
                          <a:pt x="37" y="43"/>
                        </a:lnTo>
                        <a:lnTo>
                          <a:pt x="37" y="46"/>
                        </a:lnTo>
                        <a:lnTo>
                          <a:pt x="36" y="49"/>
                        </a:lnTo>
                        <a:lnTo>
                          <a:pt x="36" y="50"/>
                        </a:lnTo>
                        <a:lnTo>
                          <a:pt x="42" y="56"/>
                        </a:lnTo>
                        <a:lnTo>
                          <a:pt x="46" y="59"/>
                        </a:lnTo>
                        <a:lnTo>
                          <a:pt x="50" y="60"/>
                        </a:lnTo>
                        <a:lnTo>
                          <a:pt x="62" y="66"/>
                        </a:lnTo>
                        <a:lnTo>
                          <a:pt x="64" y="69"/>
                        </a:lnTo>
                        <a:lnTo>
                          <a:pt x="61" y="78"/>
                        </a:lnTo>
                        <a:lnTo>
                          <a:pt x="55" y="89"/>
                        </a:lnTo>
                        <a:lnTo>
                          <a:pt x="52" y="89"/>
                        </a:lnTo>
                        <a:lnTo>
                          <a:pt x="49" y="90"/>
                        </a:lnTo>
                        <a:lnTo>
                          <a:pt x="45" y="90"/>
                        </a:lnTo>
                        <a:lnTo>
                          <a:pt x="42" y="92"/>
                        </a:lnTo>
                        <a:lnTo>
                          <a:pt x="34" y="92"/>
                        </a:lnTo>
                        <a:lnTo>
                          <a:pt x="34" y="90"/>
                        </a:lnTo>
                        <a:lnTo>
                          <a:pt x="33" y="89"/>
                        </a:lnTo>
                        <a:lnTo>
                          <a:pt x="30" y="87"/>
                        </a:lnTo>
                        <a:lnTo>
                          <a:pt x="28" y="86"/>
                        </a:lnTo>
                        <a:lnTo>
                          <a:pt x="27" y="83"/>
                        </a:lnTo>
                        <a:lnTo>
                          <a:pt x="25" y="81"/>
                        </a:lnTo>
                        <a:lnTo>
                          <a:pt x="24" y="78"/>
                        </a:lnTo>
                        <a:lnTo>
                          <a:pt x="22" y="74"/>
                        </a:lnTo>
                        <a:lnTo>
                          <a:pt x="22" y="68"/>
                        </a:lnTo>
                        <a:lnTo>
                          <a:pt x="21" y="65"/>
                        </a:lnTo>
                        <a:lnTo>
                          <a:pt x="18" y="63"/>
                        </a:lnTo>
                        <a:lnTo>
                          <a:pt x="16" y="60"/>
                        </a:lnTo>
                        <a:lnTo>
                          <a:pt x="12" y="56"/>
                        </a:lnTo>
                        <a:lnTo>
                          <a:pt x="12" y="49"/>
                        </a:lnTo>
                        <a:lnTo>
                          <a:pt x="8" y="47"/>
                        </a:lnTo>
                        <a:lnTo>
                          <a:pt x="5" y="44"/>
                        </a:lnTo>
                        <a:lnTo>
                          <a:pt x="2" y="43"/>
                        </a:lnTo>
                        <a:lnTo>
                          <a:pt x="0" y="40"/>
                        </a:lnTo>
                        <a:lnTo>
                          <a:pt x="2" y="40"/>
                        </a:lnTo>
                        <a:lnTo>
                          <a:pt x="3" y="38"/>
                        </a:lnTo>
                        <a:lnTo>
                          <a:pt x="9" y="35"/>
                        </a:lnTo>
                        <a:lnTo>
                          <a:pt x="10" y="32"/>
                        </a:lnTo>
                        <a:lnTo>
                          <a:pt x="12" y="31"/>
                        </a:lnTo>
                        <a:lnTo>
                          <a:pt x="12" y="28"/>
                        </a:lnTo>
                        <a:lnTo>
                          <a:pt x="9" y="25"/>
                        </a:lnTo>
                        <a:lnTo>
                          <a:pt x="9" y="23"/>
                        </a:lnTo>
                        <a:lnTo>
                          <a:pt x="10" y="21"/>
                        </a:lnTo>
                        <a:lnTo>
                          <a:pt x="12" y="19"/>
                        </a:lnTo>
                        <a:lnTo>
                          <a:pt x="13" y="16"/>
                        </a:lnTo>
                        <a:lnTo>
                          <a:pt x="15" y="15"/>
                        </a:lnTo>
                        <a:lnTo>
                          <a:pt x="16" y="12"/>
                        </a:lnTo>
                        <a:lnTo>
                          <a:pt x="18" y="10"/>
                        </a:lnTo>
                        <a:lnTo>
                          <a:pt x="28" y="7"/>
                        </a:lnTo>
                        <a:lnTo>
                          <a:pt x="40"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8" name="Freeform 277" descr="© INSCALE GmbH, 21.06.2010"/>
                  <p:cNvSpPr>
                    <a:spLocks noChangeAspect="1"/>
                  </p:cNvSpPr>
                  <p:nvPr/>
                </p:nvSpPr>
                <p:spPr bwMode="auto">
                  <a:xfrm>
                    <a:off x="2831095" y="4197503"/>
                    <a:ext cx="166677" cy="269705"/>
                  </a:xfrm>
                  <a:custGeom>
                    <a:avLst/>
                    <a:gdLst>
                      <a:gd name="T0" fmla="*/ 2147483646 w 164"/>
                      <a:gd name="T1" fmla="*/ 2147483646 h 282"/>
                      <a:gd name="T2" fmla="*/ 2147483646 w 164"/>
                      <a:gd name="T3" fmla="*/ 2147483646 h 282"/>
                      <a:gd name="T4" fmla="*/ 2147483646 w 164"/>
                      <a:gd name="T5" fmla="*/ 2147483646 h 282"/>
                      <a:gd name="T6" fmla="*/ 2147483646 w 164"/>
                      <a:gd name="T7" fmla="*/ 2147483646 h 282"/>
                      <a:gd name="T8" fmla="*/ 2147483646 w 164"/>
                      <a:gd name="T9" fmla="*/ 2147483646 h 282"/>
                      <a:gd name="T10" fmla="*/ 2147483646 w 164"/>
                      <a:gd name="T11" fmla="*/ 2147483646 h 282"/>
                      <a:gd name="T12" fmla="*/ 2147483646 w 164"/>
                      <a:gd name="T13" fmla="*/ 2147483646 h 282"/>
                      <a:gd name="T14" fmla="*/ 2147483646 w 164"/>
                      <a:gd name="T15" fmla="*/ 2147483646 h 282"/>
                      <a:gd name="T16" fmla="*/ 2147483646 w 164"/>
                      <a:gd name="T17" fmla="*/ 2147483646 h 282"/>
                      <a:gd name="T18" fmla="*/ 2147483646 w 164"/>
                      <a:gd name="T19" fmla="*/ 2147483646 h 282"/>
                      <a:gd name="T20" fmla="*/ 2147483646 w 164"/>
                      <a:gd name="T21" fmla="*/ 2147483646 h 282"/>
                      <a:gd name="T22" fmla="*/ 2147483646 w 164"/>
                      <a:gd name="T23" fmla="*/ 2147483646 h 282"/>
                      <a:gd name="T24" fmla="*/ 2147483646 w 164"/>
                      <a:gd name="T25" fmla="*/ 2147483646 h 282"/>
                      <a:gd name="T26" fmla="*/ 2147483646 w 164"/>
                      <a:gd name="T27" fmla="*/ 2147483646 h 282"/>
                      <a:gd name="T28" fmla="*/ 2147483646 w 164"/>
                      <a:gd name="T29" fmla="*/ 2147483646 h 282"/>
                      <a:gd name="T30" fmla="*/ 2147483646 w 164"/>
                      <a:gd name="T31" fmla="*/ 2147483646 h 282"/>
                      <a:gd name="T32" fmla="*/ 2147483646 w 164"/>
                      <a:gd name="T33" fmla="*/ 2147483646 h 282"/>
                      <a:gd name="T34" fmla="*/ 2147483646 w 164"/>
                      <a:gd name="T35" fmla="*/ 2147483646 h 282"/>
                      <a:gd name="T36" fmla="*/ 2147483646 w 164"/>
                      <a:gd name="T37" fmla="*/ 2147483646 h 282"/>
                      <a:gd name="T38" fmla="*/ 2147483646 w 164"/>
                      <a:gd name="T39" fmla="*/ 2147483646 h 282"/>
                      <a:gd name="T40" fmla="*/ 2147483646 w 164"/>
                      <a:gd name="T41" fmla="*/ 2147483646 h 282"/>
                      <a:gd name="T42" fmla="*/ 2147483646 w 164"/>
                      <a:gd name="T43" fmla="*/ 2147483646 h 282"/>
                      <a:gd name="T44" fmla="*/ 2147483646 w 164"/>
                      <a:gd name="T45" fmla="*/ 2147483646 h 282"/>
                      <a:gd name="T46" fmla="*/ 2147483646 w 164"/>
                      <a:gd name="T47" fmla="*/ 2147483646 h 282"/>
                      <a:gd name="T48" fmla="*/ 2147483646 w 164"/>
                      <a:gd name="T49" fmla="*/ 2147483646 h 282"/>
                      <a:gd name="T50" fmla="*/ 2147483646 w 164"/>
                      <a:gd name="T51" fmla="*/ 2147483646 h 282"/>
                      <a:gd name="T52" fmla="*/ 2147483646 w 164"/>
                      <a:gd name="T53" fmla="*/ 2147483646 h 282"/>
                      <a:gd name="T54" fmla="*/ 2147483646 w 164"/>
                      <a:gd name="T55" fmla="*/ 2147483646 h 282"/>
                      <a:gd name="T56" fmla="*/ 2147483646 w 164"/>
                      <a:gd name="T57" fmla="*/ 2147483646 h 282"/>
                      <a:gd name="T58" fmla="*/ 2147483646 w 164"/>
                      <a:gd name="T59" fmla="*/ 2147483646 h 282"/>
                      <a:gd name="T60" fmla="*/ 2147483646 w 164"/>
                      <a:gd name="T61" fmla="*/ 2147483646 h 282"/>
                      <a:gd name="T62" fmla="*/ 2147483646 w 164"/>
                      <a:gd name="T63" fmla="*/ 2147483646 h 282"/>
                      <a:gd name="T64" fmla="*/ 2147483646 w 164"/>
                      <a:gd name="T65" fmla="*/ 2147483646 h 282"/>
                      <a:gd name="T66" fmla="*/ 2147483646 w 164"/>
                      <a:gd name="T67" fmla="*/ 2147483646 h 282"/>
                      <a:gd name="T68" fmla="*/ 2147483646 w 164"/>
                      <a:gd name="T69" fmla="*/ 2147483646 h 282"/>
                      <a:gd name="T70" fmla="*/ 2147483646 w 164"/>
                      <a:gd name="T71" fmla="*/ 2147483646 h 282"/>
                      <a:gd name="T72" fmla="*/ 2147483646 w 164"/>
                      <a:gd name="T73" fmla="*/ 2147483646 h 282"/>
                      <a:gd name="T74" fmla="*/ 2147483646 w 164"/>
                      <a:gd name="T75" fmla="*/ 2147483646 h 282"/>
                      <a:gd name="T76" fmla="*/ 2147483646 w 164"/>
                      <a:gd name="T77" fmla="*/ 2147483646 h 282"/>
                      <a:gd name="T78" fmla="*/ 2147483646 w 164"/>
                      <a:gd name="T79" fmla="*/ 2147483646 h 282"/>
                      <a:gd name="T80" fmla="*/ 2147483646 w 164"/>
                      <a:gd name="T81" fmla="*/ 2147483646 h 282"/>
                      <a:gd name="T82" fmla="*/ 2147483646 w 164"/>
                      <a:gd name="T83" fmla="*/ 2147483646 h 282"/>
                      <a:gd name="T84" fmla="*/ 2147483646 w 164"/>
                      <a:gd name="T85" fmla="*/ 2147483646 h 282"/>
                      <a:gd name="T86" fmla="*/ 2147483646 w 164"/>
                      <a:gd name="T87" fmla="*/ 2147483646 h 282"/>
                      <a:gd name="T88" fmla="*/ 2147483646 w 164"/>
                      <a:gd name="T89" fmla="*/ 2147483646 h 282"/>
                      <a:gd name="T90" fmla="*/ 2147483646 w 164"/>
                      <a:gd name="T91" fmla="*/ 2147483646 h 282"/>
                      <a:gd name="T92" fmla="*/ 2147483646 w 164"/>
                      <a:gd name="T93" fmla="*/ 2147483646 h 282"/>
                      <a:gd name="T94" fmla="*/ 2147483646 w 164"/>
                      <a:gd name="T95" fmla="*/ 2147483646 h 282"/>
                      <a:gd name="T96" fmla="*/ 2147483646 w 164"/>
                      <a:gd name="T97" fmla="*/ 2147483646 h 282"/>
                      <a:gd name="T98" fmla="*/ 2147483646 w 164"/>
                      <a:gd name="T99" fmla="*/ 2147483646 h 282"/>
                      <a:gd name="T100" fmla="*/ 2147483646 w 164"/>
                      <a:gd name="T101" fmla="*/ 2147483646 h 282"/>
                      <a:gd name="T102" fmla="*/ 2147483646 w 164"/>
                      <a:gd name="T103" fmla="*/ 2147483646 h 282"/>
                      <a:gd name="T104" fmla="*/ 2147483646 w 164"/>
                      <a:gd name="T105" fmla="*/ 2147483646 h 282"/>
                      <a:gd name="T106" fmla="*/ 2147483646 w 164"/>
                      <a:gd name="T107" fmla="*/ 2147483646 h 282"/>
                      <a:gd name="T108" fmla="*/ 2147483646 w 164"/>
                      <a:gd name="T109" fmla="*/ 2147483646 h 282"/>
                      <a:gd name="T110" fmla="*/ 2147483646 w 164"/>
                      <a:gd name="T111" fmla="*/ 2147483646 h 282"/>
                      <a:gd name="T112" fmla="*/ 2147483646 w 164"/>
                      <a:gd name="T113" fmla="*/ 2147483646 h 282"/>
                      <a:gd name="T114" fmla="*/ 2147483646 w 164"/>
                      <a:gd name="T115" fmla="*/ 2147483646 h 282"/>
                      <a:gd name="T116" fmla="*/ 2147483646 w 164"/>
                      <a:gd name="T117" fmla="*/ 2147483646 h 282"/>
                      <a:gd name="T118" fmla="*/ 2147483646 w 164"/>
                      <a:gd name="T119" fmla="*/ 2147483646 h 282"/>
                      <a:gd name="T120" fmla="*/ 2147483646 w 164"/>
                      <a:gd name="T121" fmla="*/ 2147483646 h 2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4"/>
                      <a:gd name="T184" fmla="*/ 0 h 282"/>
                      <a:gd name="T185" fmla="*/ 164 w 164"/>
                      <a:gd name="T186" fmla="*/ 282 h 2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4" h="282">
                        <a:moveTo>
                          <a:pt x="85" y="0"/>
                        </a:moveTo>
                        <a:lnTo>
                          <a:pt x="87" y="0"/>
                        </a:lnTo>
                        <a:lnTo>
                          <a:pt x="88" y="1"/>
                        </a:lnTo>
                        <a:lnTo>
                          <a:pt x="91" y="3"/>
                        </a:lnTo>
                        <a:lnTo>
                          <a:pt x="94" y="6"/>
                        </a:lnTo>
                        <a:lnTo>
                          <a:pt x="97" y="7"/>
                        </a:lnTo>
                        <a:lnTo>
                          <a:pt x="99" y="9"/>
                        </a:lnTo>
                        <a:lnTo>
                          <a:pt x="100" y="12"/>
                        </a:lnTo>
                        <a:lnTo>
                          <a:pt x="99" y="15"/>
                        </a:lnTo>
                        <a:lnTo>
                          <a:pt x="99" y="18"/>
                        </a:lnTo>
                        <a:lnTo>
                          <a:pt x="97" y="19"/>
                        </a:lnTo>
                        <a:lnTo>
                          <a:pt x="96" y="22"/>
                        </a:lnTo>
                        <a:lnTo>
                          <a:pt x="93" y="25"/>
                        </a:lnTo>
                        <a:lnTo>
                          <a:pt x="90" y="26"/>
                        </a:lnTo>
                        <a:lnTo>
                          <a:pt x="87" y="29"/>
                        </a:lnTo>
                        <a:lnTo>
                          <a:pt x="87" y="31"/>
                        </a:lnTo>
                        <a:lnTo>
                          <a:pt x="88" y="32"/>
                        </a:lnTo>
                        <a:lnTo>
                          <a:pt x="90" y="35"/>
                        </a:lnTo>
                        <a:lnTo>
                          <a:pt x="93" y="38"/>
                        </a:lnTo>
                        <a:lnTo>
                          <a:pt x="94" y="41"/>
                        </a:lnTo>
                        <a:lnTo>
                          <a:pt x="94" y="49"/>
                        </a:lnTo>
                        <a:lnTo>
                          <a:pt x="97" y="54"/>
                        </a:lnTo>
                        <a:lnTo>
                          <a:pt x="97" y="57"/>
                        </a:lnTo>
                        <a:lnTo>
                          <a:pt x="99" y="59"/>
                        </a:lnTo>
                        <a:lnTo>
                          <a:pt x="102" y="59"/>
                        </a:lnTo>
                        <a:lnTo>
                          <a:pt x="102" y="57"/>
                        </a:lnTo>
                        <a:lnTo>
                          <a:pt x="105" y="54"/>
                        </a:lnTo>
                        <a:lnTo>
                          <a:pt x="105" y="53"/>
                        </a:lnTo>
                        <a:lnTo>
                          <a:pt x="109" y="49"/>
                        </a:lnTo>
                        <a:lnTo>
                          <a:pt x="112" y="52"/>
                        </a:lnTo>
                        <a:lnTo>
                          <a:pt x="113" y="52"/>
                        </a:lnTo>
                        <a:lnTo>
                          <a:pt x="115" y="50"/>
                        </a:lnTo>
                        <a:lnTo>
                          <a:pt x="125" y="44"/>
                        </a:lnTo>
                        <a:lnTo>
                          <a:pt x="127" y="46"/>
                        </a:lnTo>
                        <a:lnTo>
                          <a:pt x="128" y="49"/>
                        </a:lnTo>
                        <a:lnTo>
                          <a:pt x="131" y="50"/>
                        </a:lnTo>
                        <a:lnTo>
                          <a:pt x="133" y="52"/>
                        </a:lnTo>
                        <a:lnTo>
                          <a:pt x="133" y="59"/>
                        </a:lnTo>
                        <a:lnTo>
                          <a:pt x="131" y="60"/>
                        </a:lnTo>
                        <a:lnTo>
                          <a:pt x="131" y="62"/>
                        </a:lnTo>
                        <a:lnTo>
                          <a:pt x="133" y="63"/>
                        </a:lnTo>
                        <a:lnTo>
                          <a:pt x="134" y="66"/>
                        </a:lnTo>
                        <a:lnTo>
                          <a:pt x="136" y="68"/>
                        </a:lnTo>
                        <a:lnTo>
                          <a:pt x="139" y="69"/>
                        </a:lnTo>
                        <a:lnTo>
                          <a:pt x="139" y="87"/>
                        </a:lnTo>
                        <a:lnTo>
                          <a:pt x="137" y="88"/>
                        </a:lnTo>
                        <a:lnTo>
                          <a:pt x="136" y="91"/>
                        </a:lnTo>
                        <a:lnTo>
                          <a:pt x="133" y="93"/>
                        </a:lnTo>
                        <a:lnTo>
                          <a:pt x="131" y="96"/>
                        </a:lnTo>
                        <a:lnTo>
                          <a:pt x="128" y="99"/>
                        </a:lnTo>
                        <a:lnTo>
                          <a:pt x="124" y="99"/>
                        </a:lnTo>
                        <a:lnTo>
                          <a:pt x="124" y="102"/>
                        </a:lnTo>
                        <a:lnTo>
                          <a:pt x="127" y="108"/>
                        </a:lnTo>
                        <a:lnTo>
                          <a:pt x="131" y="112"/>
                        </a:lnTo>
                        <a:lnTo>
                          <a:pt x="133" y="112"/>
                        </a:lnTo>
                        <a:lnTo>
                          <a:pt x="136" y="111"/>
                        </a:lnTo>
                        <a:lnTo>
                          <a:pt x="137" y="109"/>
                        </a:lnTo>
                        <a:lnTo>
                          <a:pt x="140" y="108"/>
                        </a:lnTo>
                        <a:lnTo>
                          <a:pt x="142" y="106"/>
                        </a:lnTo>
                        <a:lnTo>
                          <a:pt x="145" y="105"/>
                        </a:lnTo>
                        <a:lnTo>
                          <a:pt x="145" y="121"/>
                        </a:lnTo>
                        <a:lnTo>
                          <a:pt x="146" y="122"/>
                        </a:lnTo>
                        <a:lnTo>
                          <a:pt x="147" y="122"/>
                        </a:lnTo>
                        <a:lnTo>
                          <a:pt x="147" y="124"/>
                        </a:lnTo>
                        <a:lnTo>
                          <a:pt x="142" y="124"/>
                        </a:lnTo>
                        <a:lnTo>
                          <a:pt x="140" y="125"/>
                        </a:lnTo>
                        <a:lnTo>
                          <a:pt x="139" y="128"/>
                        </a:lnTo>
                        <a:lnTo>
                          <a:pt x="130" y="143"/>
                        </a:lnTo>
                        <a:lnTo>
                          <a:pt x="125" y="149"/>
                        </a:lnTo>
                        <a:lnTo>
                          <a:pt x="124" y="152"/>
                        </a:lnTo>
                        <a:lnTo>
                          <a:pt x="124" y="155"/>
                        </a:lnTo>
                        <a:lnTo>
                          <a:pt x="125" y="155"/>
                        </a:lnTo>
                        <a:lnTo>
                          <a:pt x="125" y="162"/>
                        </a:lnTo>
                        <a:lnTo>
                          <a:pt x="124" y="164"/>
                        </a:lnTo>
                        <a:lnTo>
                          <a:pt x="118" y="164"/>
                        </a:lnTo>
                        <a:lnTo>
                          <a:pt x="115" y="165"/>
                        </a:lnTo>
                        <a:lnTo>
                          <a:pt x="113" y="167"/>
                        </a:lnTo>
                        <a:lnTo>
                          <a:pt x="113" y="170"/>
                        </a:lnTo>
                        <a:lnTo>
                          <a:pt x="115" y="173"/>
                        </a:lnTo>
                        <a:lnTo>
                          <a:pt x="116" y="174"/>
                        </a:lnTo>
                        <a:lnTo>
                          <a:pt x="119" y="176"/>
                        </a:lnTo>
                        <a:lnTo>
                          <a:pt x="121" y="177"/>
                        </a:lnTo>
                        <a:lnTo>
                          <a:pt x="122" y="177"/>
                        </a:lnTo>
                        <a:lnTo>
                          <a:pt x="124" y="179"/>
                        </a:lnTo>
                        <a:lnTo>
                          <a:pt x="128" y="179"/>
                        </a:lnTo>
                        <a:lnTo>
                          <a:pt x="130" y="182"/>
                        </a:lnTo>
                        <a:lnTo>
                          <a:pt x="130" y="183"/>
                        </a:lnTo>
                        <a:lnTo>
                          <a:pt x="134" y="188"/>
                        </a:lnTo>
                        <a:lnTo>
                          <a:pt x="150" y="179"/>
                        </a:lnTo>
                        <a:lnTo>
                          <a:pt x="150" y="189"/>
                        </a:lnTo>
                        <a:lnTo>
                          <a:pt x="152" y="192"/>
                        </a:lnTo>
                        <a:lnTo>
                          <a:pt x="155" y="193"/>
                        </a:lnTo>
                        <a:lnTo>
                          <a:pt x="159" y="195"/>
                        </a:lnTo>
                        <a:lnTo>
                          <a:pt x="162" y="198"/>
                        </a:lnTo>
                        <a:lnTo>
                          <a:pt x="162" y="202"/>
                        </a:lnTo>
                        <a:lnTo>
                          <a:pt x="158" y="202"/>
                        </a:lnTo>
                        <a:lnTo>
                          <a:pt x="156" y="204"/>
                        </a:lnTo>
                        <a:lnTo>
                          <a:pt x="153" y="205"/>
                        </a:lnTo>
                        <a:lnTo>
                          <a:pt x="152" y="205"/>
                        </a:lnTo>
                        <a:lnTo>
                          <a:pt x="152" y="208"/>
                        </a:lnTo>
                        <a:lnTo>
                          <a:pt x="155" y="208"/>
                        </a:lnTo>
                        <a:lnTo>
                          <a:pt x="156" y="210"/>
                        </a:lnTo>
                        <a:lnTo>
                          <a:pt x="156" y="211"/>
                        </a:lnTo>
                        <a:lnTo>
                          <a:pt x="155" y="213"/>
                        </a:lnTo>
                        <a:lnTo>
                          <a:pt x="155" y="217"/>
                        </a:lnTo>
                        <a:lnTo>
                          <a:pt x="164" y="217"/>
                        </a:lnTo>
                        <a:lnTo>
                          <a:pt x="164" y="222"/>
                        </a:lnTo>
                        <a:lnTo>
                          <a:pt x="162" y="222"/>
                        </a:lnTo>
                        <a:lnTo>
                          <a:pt x="161" y="223"/>
                        </a:lnTo>
                        <a:lnTo>
                          <a:pt x="156" y="223"/>
                        </a:lnTo>
                        <a:lnTo>
                          <a:pt x="156" y="229"/>
                        </a:lnTo>
                        <a:lnTo>
                          <a:pt x="155" y="232"/>
                        </a:lnTo>
                        <a:lnTo>
                          <a:pt x="155" y="233"/>
                        </a:lnTo>
                        <a:lnTo>
                          <a:pt x="149" y="239"/>
                        </a:lnTo>
                        <a:lnTo>
                          <a:pt x="146" y="241"/>
                        </a:lnTo>
                        <a:lnTo>
                          <a:pt x="143" y="244"/>
                        </a:lnTo>
                        <a:lnTo>
                          <a:pt x="143" y="251"/>
                        </a:lnTo>
                        <a:lnTo>
                          <a:pt x="140" y="257"/>
                        </a:lnTo>
                        <a:lnTo>
                          <a:pt x="140" y="260"/>
                        </a:lnTo>
                        <a:lnTo>
                          <a:pt x="139" y="262"/>
                        </a:lnTo>
                        <a:lnTo>
                          <a:pt x="139" y="263"/>
                        </a:lnTo>
                        <a:lnTo>
                          <a:pt x="142" y="263"/>
                        </a:lnTo>
                        <a:lnTo>
                          <a:pt x="143" y="262"/>
                        </a:lnTo>
                        <a:lnTo>
                          <a:pt x="147" y="262"/>
                        </a:lnTo>
                        <a:lnTo>
                          <a:pt x="147" y="266"/>
                        </a:lnTo>
                        <a:lnTo>
                          <a:pt x="137" y="276"/>
                        </a:lnTo>
                        <a:lnTo>
                          <a:pt x="131" y="279"/>
                        </a:lnTo>
                        <a:lnTo>
                          <a:pt x="128" y="279"/>
                        </a:lnTo>
                        <a:lnTo>
                          <a:pt x="125" y="281"/>
                        </a:lnTo>
                        <a:lnTo>
                          <a:pt x="115" y="281"/>
                        </a:lnTo>
                        <a:lnTo>
                          <a:pt x="113" y="279"/>
                        </a:lnTo>
                        <a:lnTo>
                          <a:pt x="111" y="278"/>
                        </a:lnTo>
                        <a:lnTo>
                          <a:pt x="109" y="278"/>
                        </a:lnTo>
                        <a:lnTo>
                          <a:pt x="105" y="276"/>
                        </a:lnTo>
                        <a:lnTo>
                          <a:pt x="97" y="276"/>
                        </a:lnTo>
                        <a:lnTo>
                          <a:pt x="94" y="279"/>
                        </a:lnTo>
                        <a:lnTo>
                          <a:pt x="91" y="279"/>
                        </a:lnTo>
                        <a:lnTo>
                          <a:pt x="88" y="281"/>
                        </a:lnTo>
                        <a:lnTo>
                          <a:pt x="87" y="282"/>
                        </a:lnTo>
                        <a:lnTo>
                          <a:pt x="85" y="282"/>
                        </a:lnTo>
                        <a:lnTo>
                          <a:pt x="85" y="273"/>
                        </a:lnTo>
                        <a:lnTo>
                          <a:pt x="84" y="272"/>
                        </a:lnTo>
                        <a:lnTo>
                          <a:pt x="82" y="269"/>
                        </a:lnTo>
                        <a:lnTo>
                          <a:pt x="79" y="266"/>
                        </a:lnTo>
                        <a:lnTo>
                          <a:pt x="79" y="264"/>
                        </a:lnTo>
                        <a:lnTo>
                          <a:pt x="72" y="264"/>
                        </a:lnTo>
                        <a:lnTo>
                          <a:pt x="78" y="257"/>
                        </a:lnTo>
                        <a:lnTo>
                          <a:pt x="76" y="257"/>
                        </a:lnTo>
                        <a:lnTo>
                          <a:pt x="72" y="253"/>
                        </a:lnTo>
                        <a:lnTo>
                          <a:pt x="71" y="250"/>
                        </a:lnTo>
                        <a:lnTo>
                          <a:pt x="71" y="242"/>
                        </a:lnTo>
                        <a:lnTo>
                          <a:pt x="90" y="225"/>
                        </a:lnTo>
                        <a:lnTo>
                          <a:pt x="99" y="225"/>
                        </a:lnTo>
                        <a:lnTo>
                          <a:pt x="99" y="222"/>
                        </a:lnTo>
                        <a:lnTo>
                          <a:pt x="102" y="216"/>
                        </a:lnTo>
                        <a:lnTo>
                          <a:pt x="106" y="211"/>
                        </a:lnTo>
                        <a:lnTo>
                          <a:pt x="111" y="202"/>
                        </a:lnTo>
                        <a:lnTo>
                          <a:pt x="109" y="201"/>
                        </a:lnTo>
                        <a:lnTo>
                          <a:pt x="108" y="201"/>
                        </a:lnTo>
                        <a:lnTo>
                          <a:pt x="103" y="199"/>
                        </a:lnTo>
                        <a:lnTo>
                          <a:pt x="94" y="199"/>
                        </a:lnTo>
                        <a:lnTo>
                          <a:pt x="93" y="198"/>
                        </a:lnTo>
                        <a:lnTo>
                          <a:pt x="90" y="196"/>
                        </a:lnTo>
                        <a:lnTo>
                          <a:pt x="87" y="196"/>
                        </a:lnTo>
                        <a:lnTo>
                          <a:pt x="84" y="195"/>
                        </a:lnTo>
                        <a:lnTo>
                          <a:pt x="82" y="193"/>
                        </a:lnTo>
                        <a:lnTo>
                          <a:pt x="79" y="195"/>
                        </a:lnTo>
                        <a:lnTo>
                          <a:pt x="78" y="195"/>
                        </a:lnTo>
                        <a:lnTo>
                          <a:pt x="75" y="196"/>
                        </a:lnTo>
                        <a:lnTo>
                          <a:pt x="74" y="198"/>
                        </a:lnTo>
                        <a:lnTo>
                          <a:pt x="69" y="191"/>
                        </a:lnTo>
                        <a:lnTo>
                          <a:pt x="72" y="189"/>
                        </a:lnTo>
                        <a:lnTo>
                          <a:pt x="74" y="189"/>
                        </a:lnTo>
                        <a:lnTo>
                          <a:pt x="75" y="186"/>
                        </a:lnTo>
                        <a:lnTo>
                          <a:pt x="76" y="185"/>
                        </a:lnTo>
                        <a:lnTo>
                          <a:pt x="76" y="182"/>
                        </a:lnTo>
                        <a:lnTo>
                          <a:pt x="74" y="182"/>
                        </a:lnTo>
                        <a:lnTo>
                          <a:pt x="69" y="177"/>
                        </a:lnTo>
                        <a:lnTo>
                          <a:pt x="66" y="173"/>
                        </a:lnTo>
                        <a:lnTo>
                          <a:pt x="62" y="164"/>
                        </a:lnTo>
                        <a:lnTo>
                          <a:pt x="59" y="157"/>
                        </a:lnTo>
                        <a:lnTo>
                          <a:pt x="54" y="148"/>
                        </a:lnTo>
                        <a:lnTo>
                          <a:pt x="53" y="143"/>
                        </a:lnTo>
                        <a:lnTo>
                          <a:pt x="53" y="140"/>
                        </a:lnTo>
                        <a:lnTo>
                          <a:pt x="50" y="140"/>
                        </a:lnTo>
                        <a:lnTo>
                          <a:pt x="41" y="139"/>
                        </a:lnTo>
                        <a:lnTo>
                          <a:pt x="31" y="136"/>
                        </a:lnTo>
                        <a:lnTo>
                          <a:pt x="23" y="133"/>
                        </a:lnTo>
                        <a:lnTo>
                          <a:pt x="23" y="136"/>
                        </a:lnTo>
                        <a:lnTo>
                          <a:pt x="22" y="137"/>
                        </a:lnTo>
                        <a:lnTo>
                          <a:pt x="22" y="139"/>
                        </a:lnTo>
                        <a:lnTo>
                          <a:pt x="20" y="139"/>
                        </a:lnTo>
                        <a:lnTo>
                          <a:pt x="19" y="137"/>
                        </a:lnTo>
                        <a:lnTo>
                          <a:pt x="19" y="127"/>
                        </a:lnTo>
                        <a:lnTo>
                          <a:pt x="20" y="124"/>
                        </a:lnTo>
                        <a:lnTo>
                          <a:pt x="20" y="122"/>
                        </a:lnTo>
                        <a:lnTo>
                          <a:pt x="17" y="120"/>
                        </a:lnTo>
                        <a:lnTo>
                          <a:pt x="16" y="117"/>
                        </a:lnTo>
                        <a:lnTo>
                          <a:pt x="14" y="115"/>
                        </a:lnTo>
                        <a:lnTo>
                          <a:pt x="14" y="112"/>
                        </a:lnTo>
                        <a:lnTo>
                          <a:pt x="16" y="109"/>
                        </a:lnTo>
                        <a:lnTo>
                          <a:pt x="16" y="106"/>
                        </a:lnTo>
                        <a:lnTo>
                          <a:pt x="17" y="105"/>
                        </a:lnTo>
                        <a:lnTo>
                          <a:pt x="17" y="103"/>
                        </a:lnTo>
                        <a:lnTo>
                          <a:pt x="14" y="102"/>
                        </a:lnTo>
                        <a:lnTo>
                          <a:pt x="10" y="97"/>
                        </a:lnTo>
                        <a:lnTo>
                          <a:pt x="7" y="96"/>
                        </a:lnTo>
                        <a:lnTo>
                          <a:pt x="4" y="93"/>
                        </a:lnTo>
                        <a:lnTo>
                          <a:pt x="1" y="91"/>
                        </a:lnTo>
                        <a:lnTo>
                          <a:pt x="0" y="90"/>
                        </a:lnTo>
                        <a:lnTo>
                          <a:pt x="0" y="88"/>
                        </a:lnTo>
                        <a:lnTo>
                          <a:pt x="1" y="86"/>
                        </a:lnTo>
                        <a:lnTo>
                          <a:pt x="1" y="84"/>
                        </a:lnTo>
                        <a:lnTo>
                          <a:pt x="8" y="87"/>
                        </a:lnTo>
                        <a:lnTo>
                          <a:pt x="17" y="80"/>
                        </a:lnTo>
                        <a:lnTo>
                          <a:pt x="17" y="77"/>
                        </a:lnTo>
                        <a:lnTo>
                          <a:pt x="16" y="74"/>
                        </a:lnTo>
                        <a:lnTo>
                          <a:pt x="16" y="62"/>
                        </a:lnTo>
                        <a:lnTo>
                          <a:pt x="17" y="60"/>
                        </a:lnTo>
                        <a:lnTo>
                          <a:pt x="20" y="59"/>
                        </a:lnTo>
                        <a:lnTo>
                          <a:pt x="23" y="59"/>
                        </a:lnTo>
                        <a:lnTo>
                          <a:pt x="26" y="57"/>
                        </a:lnTo>
                        <a:lnTo>
                          <a:pt x="28" y="56"/>
                        </a:lnTo>
                        <a:lnTo>
                          <a:pt x="29" y="56"/>
                        </a:lnTo>
                        <a:lnTo>
                          <a:pt x="35" y="59"/>
                        </a:lnTo>
                        <a:lnTo>
                          <a:pt x="38" y="59"/>
                        </a:lnTo>
                        <a:lnTo>
                          <a:pt x="38" y="57"/>
                        </a:lnTo>
                        <a:lnTo>
                          <a:pt x="39" y="56"/>
                        </a:lnTo>
                        <a:lnTo>
                          <a:pt x="41" y="53"/>
                        </a:lnTo>
                        <a:lnTo>
                          <a:pt x="41" y="49"/>
                        </a:lnTo>
                        <a:lnTo>
                          <a:pt x="44" y="43"/>
                        </a:lnTo>
                        <a:lnTo>
                          <a:pt x="44" y="40"/>
                        </a:lnTo>
                        <a:lnTo>
                          <a:pt x="42" y="37"/>
                        </a:lnTo>
                        <a:lnTo>
                          <a:pt x="42" y="34"/>
                        </a:lnTo>
                        <a:lnTo>
                          <a:pt x="41" y="31"/>
                        </a:lnTo>
                        <a:lnTo>
                          <a:pt x="41" y="25"/>
                        </a:lnTo>
                        <a:lnTo>
                          <a:pt x="42" y="23"/>
                        </a:lnTo>
                        <a:lnTo>
                          <a:pt x="44" y="20"/>
                        </a:lnTo>
                        <a:lnTo>
                          <a:pt x="63" y="31"/>
                        </a:lnTo>
                        <a:lnTo>
                          <a:pt x="65" y="31"/>
                        </a:lnTo>
                        <a:lnTo>
                          <a:pt x="68" y="28"/>
                        </a:lnTo>
                        <a:lnTo>
                          <a:pt x="69" y="25"/>
                        </a:lnTo>
                        <a:lnTo>
                          <a:pt x="69" y="22"/>
                        </a:lnTo>
                        <a:lnTo>
                          <a:pt x="71" y="19"/>
                        </a:lnTo>
                        <a:lnTo>
                          <a:pt x="71" y="12"/>
                        </a:lnTo>
                        <a:lnTo>
                          <a:pt x="85"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99" name="Freeform 278" descr="© INSCALE GmbH, 21.06.2010"/>
                  <p:cNvSpPr>
                    <a:spLocks noChangeAspect="1"/>
                  </p:cNvSpPr>
                  <p:nvPr/>
                </p:nvSpPr>
                <p:spPr bwMode="auto">
                  <a:xfrm>
                    <a:off x="2799190" y="4056604"/>
                    <a:ext cx="233456" cy="175092"/>
                  </a:xfrm>
                  <a:custGeom>
                    <a:avLst/>
                    <a:gdLst>
                      <a:gd name="T0" fmla="*/ 2147483646 w 236"/>
                      <a:gd name="T1" fmla="*/ 2147483646 h 179"/>
                      <a:gd name="T2" fmla="*/ 2147483646 w 236"/>
                      <a:gd name="T3" fmla="*/ 2147483646 h 179"/>
                      <a:gd name="T4" fmla="*/ 2147483646 w 236"/>
                      <a:gd name="T5" fmla="*/ 2147483646 h 179"/>
                      <a:gd name="T6" fmla="*/ 2147483646 w 236"/>
                      <a:gd name="T7" fmla="*/ 2147483646 h 179"/>
                      <a:gd name="T8" fmla="*/ 2147483646 w 236"/>
                      <a:gd name="T9" fmla="*/ 2147483646 h 179"/>
                      <a:gd name="T10" fmla="*/ 2147483646 w 236"/>
                      <a:gd name="T11" fmla="*/ 2147483646 h 179"/>
                      <a:gd name="T12" fmla="*/ 2147483646 w 236"/>
                      <a:gd name="T13" fmla="*/ 2147483646 h 179"/>
                      <a:gd name="T14" fmla="*/ 2147483646 w 236"/>
                      <a:gd name="T15" fmla="*/ 2147483646 h 179"/>
                      <a:gd name="T16" fmla="*/ 2147483646 w 236"/>
                      <a:gd name="T17" fmla="*/ 2147483646 h 179"/>
                      <a:gd name="T18" fmla="*/ 2147483646 w 236"/>
                      <a:gd name="T19" fmla="*/ 2147483646 h 179"/>
                      <a:gd name="T20" fmla="*/ 2147483646 w 236"/>
                      <a:gd name="T21" fmla="*/ 2147483646 h 179"/>
                      <a:gd name="T22" fmla="*/ 2147483646 w 236"/>
                      <a:gd name="T23" fmla="*/ 2147483646 h 179"/>
                      <a:gd name="T24" fmla="*/ 2147483646 w 236"/>
                      <a:gd name="T25" fmla="*/ 2147483646 h 179"/>
                      <a:gd name="T26" fmla="*/ 2147483646 w 236"/>
                      <a:gd name="T27" fmla="*/ 2147483646 h 179"/>
                      <a:gd name="T28" fmla="*/ 2147483646 w 236"/>
                      <a:gd name="T29" fmla="*/ 2147483646 h 179"/>
                      <a:gd name="T30" fmla="*/ 2147483646 w 236"/>
                      <a:gd name="T31" fmla="*/ 2147483646 h 179"/>
                      <a:gd name="T32" fmla="*/ 2147483646 w 236"/>
                      <a:gd name="T33" fmla="*/ 2147483646 h 179"/>
                      <a:gd name="T34" fmla="*/ 2147483646 w 236"/>
                      <a:gd name="T35" fmla="*/ 2147483646 h 179"/>
                      <a:gd name="T36" fmla="*/ 2147483646 w 236"/>
                      <a:gd name="T37" fmla="*/ 2147483646 h 179"/>
                      <a:gd name="T38" fmla="*/ 2147483646 w 236"/>
                      <a:gd name="T39" fmla="*/ 2147483646 h 179"/>
                      <a:gd name="T40" fmla="*/ 2147483646 w 236"/>
                      <a:gd name="T41" fmla="*/ 2147483646 h 179"/>
                      <a:gd name="T42" fmla="*/ 2147483646 w 236"/>
                      <a:gd name="T43" fmla="*/ 2147483646 h 179"/>
                      <a:gd name="T44" fmla="*/ 2147483646 w 236"/>
                      <a:gd name="T45" fmla="*/ 2147483646 h 179"/>
                      <a:gd name="T46" fmla="*/ 2147483646 w 236"/>
                      <a:gd name="T47" fmla="*/ 2147483646 h 179"/>
                      <a:gd name="T48" fmla="*/ 2147483646 w 236"/>
                      <a:gd name="T49" fmla="*/ 2147483646 h 179"/>
                      <a:gd name="T50" fmla="*/ 2147483646 w 236"/>
                      <a:gd name="T51" fmla="*/ 2147483646 h 179"/>
                      <a:gd name="T52" fmla="*/ 2147483646 w 236"/>
                      <a:gd name="T53" fmla="*/ 2147483646 h 179"/>
                      <a:gd name="T54" fmla="*/ 2147483646 w 236"/>
                      <a:gd name="T55" fmla="*/ 2147483646 h 179"/>
                      <a:gd name="T56" fmla="*/ 2147483646 w 236"/>
                      <a:gd name="T57" fmla="*/ 2147483646 h 179"/>
                      <a:gd name="T58" fmla="*/ 2147483646 w 236"/>
                      <a:gd name="T59" fmla="*/ 2147483646 h 179"/>
                      <a:gd name="T60" fmla="*/ 0 w 236"/>
                      <a:gd name="T61" fmla="*/ 2147483646 h 179"/>
                      <a:gd name="T62" fmla="*/ 2147483646 w 236"/>
                      <a:gd name="T63" fmla="*/ 2147483646 h 179"/>
                      <a:gd name="T64" fmla="*/ 2147483646 w 236"/>
                      <a:gd name="T65" fmla="*/ 2147483646 h 179"/>
                      <a:gd name="T66" fmla="*/ 2147483646 w 236"/>
                      <a:gd name="T67" fmla="*/ 2147483646 h 179"/>
                      <a:gd name="T68" fmla="*/ 2147483646 w 236"/>
                      <a:gd name="T69" fmla="*/ 2147483646 h 179"/>
                      <a:gd name="T70" fmla="*/ 2147483646 w 236"/>
                      <a:gd name="T71" fmla="*/ 2147483646 h 179"/>
                      <a:gd name="T72" fmla="*/ 2147483646 w 236"/>
                      <a:gd name="T73" fmla="*/ 2147483646 h 179"/>
                      <a:gd name="T74" fmla="*/ 2147483646 w 236"/>
                      <a:gd name="T75" fmla="*/ 2147483646 h 179"/>
                      <a:gd name="T76" fmla="*/ 2147483646 w 236"/>
                      <a:gd name="T77" fmla="*/ 2147483646 h 179"/>
                      <a:gd name="T78" fmla="*/ 2147483646 w 236"/>
                      <a:gd name="T79" fmla="*/ 2147483646 h 179"/>
                      <a:gd name="T80" fmla="*/ 2147483646 w 236"/>
                      <a:gd name="T81" fmla="*/ 2147483646 h 179"/>
                      <a:gd name="T82" fmla="*/ 2147483646 w 236"/>
                      <a:gd name="T83" fmla="*/ 2147483646 h 179"/>
                      <a:gd name="T84" fmla="*/ 2147483646 w 236"/>
                      <a:gd name="T85" fmla="*/ 2147483646 h 1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6"/>
                      <a:gd name="T130" fmla="*/ 0 h 179"/>
                      <a:gd name="T131" fmla="*/ 236 w 236"/>
                      <a:gd name="T132" fmla="*/ 179 h 17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6" h="179">
                        <a:moveTo>
                          <a:pt x="149" y="0"/>
                        </a:moveTo>
                        <a:lnTo>
                          <a:pt x="168" y="9"/>
                        </a:lnTo>
                        <a:lnTo>
                          <a:pt x="168" y="10"/>
                        </a:lnTo>
                        <a:lnTo>
                          <a:pt x="170" y="12"/>
                        </a:lnTo>
                        <a:lnTo>
                          <a:pt x="170" y="13"/>
                        </a:lnTo>
                        <a:lnTo>
                          <a:pt x="171" y="16"/>
                        </a:lnTo>
                        <a:lnTo>
                          <a:pt x="171" y="22"/>
                        </a:lnTo>
                        <a:lnTo>
                          <a:pt x="186" y="40"/>
                        </a:lnTo>
                        <a:lnTo>
                          <a:pt x="186" y="47"/>
                        </a:lnTo>
                        <a:lnTo>
                          <a:pt x="187" y="52"/>
                        </a:lnTo>
                        <a:lnTo>
                          <a:pt x="187" y="55"/>
                        </a:lnTo>
                        <a:lnTo>
                          <a:pt x="189" y="58"/>
                        </a:lnTo>
                        <a:lnTo>
                          <a:pt x="192" y="61"/>
                        </a:lnTo>
                        <a:lnTo>
                          <a:pt x="198" y="61"/>
                        </a:lnTo>
                        <a:lnTo>
                          <a:pt x="201" y="59"/>
                        </a:lnTo>
                        <a:lnTo>
                          <a:pt x="202" y="59"/>
                        </a:lnTo>
                        <a:lnTo>
                          <a:pt x="202" y="63"/>
                        </a:lnTo>
                        <a:lnTo>
                          <a:pt x="204" y="65"/>
                        </a:lnTo>
                        <a:lnTo>
                          <a:pt x="207" y="66"/>
                        </a:lnTo>
                        <a:lnTo>
                          <a:pt x="224" y="66"/>
                        </a:lnTo>
                        <a:lnTo>
                          <a:pt x="226" y="68"/>
                        </a:lnTo>
                        <a:lnTo>
                          <a:pt x="227" y="71"/>
                        </a:lnTo>
                        <a:lnTo>
                          <a:pt x="227" y="83"/>
                        </a:lnTo>
                        <a:lnTo>
                          <a:pt x="229" y="83"/>
                        </a:lnTo>
                        <a:lnTo>
                          <a:pt x="233" y="87"/>
                        </a:lnTo>
                        <a:lnTo>
                          <a:pt x="233" y="90"/>
                        </a:lnTo>
                        <a:lnTo>
                          <a:pt x="235" y="93"/>
                        </a:lnTo>
                        <a:lnTo>
                          <a:pt x="235" y="95"/>
                        </a:lnTo>
                        <a:lnTo>
                          <a:pt x="236" y="97"/>
                        </a:lnTo>
                        <a:lnTo>
                          <a:pt x="233" y="95"/>
                        </a:lnTo>
                        <a:lnTo>
                          <a:pt x="232" y="95"/>
                        </a:lnTo>
                        <a:lnTo>
                          <a:pt x="230" y="93"/>
                        </a:lnTo>
                        <a:lnTo>
                          <a:pt x="224" y="93"/>
                        </a:lnTo>
                        <a:lnTo>
                          <a:pt x="218" y="95"/>
                        </a:lnTo>
                        <a:lnTo>
                          <a:pt x="216" y="99"/>
                        </a:lnTo>
                        <a:lnTo>
                          <a:pt x="193" y="99"/>
                        </a:lnTo>
                        <a:lnTo>
                          <a:pt x="192" y="100"/>
                        </a:lnTo>
                        <a:lnTo>
                          <a:pt x="192" y="102"/>
                        </a:lnTo>
                        <a:lnTo>
                          <a:pt x="189" y="108"/>
                        </a:lnTo>
                        <a:lnTo>
                          <a:pt x="187" y="109"/>
                        </a:lnTo>
                        <a:lnTo>
                          <a:pt x="187" y="111"/>
                        </a:lnTo>
                        <a:lnTo>
                          <a:pt x="168" y="111"/>
                        </a:lnTo>
                        <a:lnTo>
                          <a:pt x="167" y="109"/>
                        </a:lnTo>
                        <a:lnTo>
                          <a:pt x="167" y="108"/>
                        </a:lnTo>
                        <a:lnTo>
                          <a:pt x="162" y="103"/>
                        </a:lnTo>
                        <a:lnTo>
                          <a:pt x="161" y="103"/>
                        </a:lnTo>
                        <a:lnTo>
                          <a:pt x="159" y="105"/>
                        </a:lnTo>
                        <a:lnTo>
                          <a:pt x="159" y="109"/>
                        </a:lnTo>
                        <a:lnTo>
                          <a:pt x="156" y="112"/>
                        </a:lnTo>
                        <a:lnTo>
                          <a:pt x="155" y="115"/>
                        </a:lnTo>
                        <a:lnTo>
                          <a:pt x="153" y="117"/>
                        </a:lnTo>
                        <a:lnTo>
                          <a:pt x="153" y="118"/>
                        </a:lnTo>
                        <a:lnTo>
                          <a:pt x="124" y="134"/>
                        </a:lnTo>
                        <a:lnTo>
                          <a:pt x="124" y="145"/>
                        </a:lnTo>
                        <a:lnTo>
                          <a:pt x="119" y="148"/>
                        </a:lnTo>
                        <a:lnTo>
                          <a:pt x="105" y="160"/>
                        </a:lnTo>
                        <a:lnTo>
                          <a:pt x="105" y="167"/>
                        </a:lnTo>
                        <a:lnTo>
                          <a:pt x="103" y="170"/>
                        </a:lnTo>
                        <a:lnTo>
                          <a:pt x="103" y="173"/>
                        </a:lnTo>
                        <a:lnTo>
                          <a:pt x="102" y="176"/>
                        </a:lnTo>
                        <a:lnTo>
                          <a:pt x="99" y="179"/>
                        </a:lnTo>
                        <a:lnTo>
                          <a:pt x="97" y="179"/>
                        </a:lnTo>
                        <a:lnTo>
                          <a:pt x="78" y="168"/>
                        </a:lnTo>
                        <a:lnTo>
                          <a:pt x="78" y="167"/>
                        </a:lnTo>
                        <a:lnTo>
                          <a:pt x="75" y="166"/>
                        </a:lnTo>
                        <a:lnTo>
                          <a:pt x="73" y="163"/>
                        </a:lnTo>
                        <a:lnTo>
                          <a:pt x="69" y="160"/>
                        </a:lnTo>
                        <a:lnTo>
                          <a:pt x="65" y="158"/>
                        </a:lnTo>
                        <a:lnTo>
                          <a:pt x="60" y="155"/>
                        </a:lnTo>
                        <a:lnTo>
                          <a:pt x="56" y="154"/>
                        </a:lnTo>
                        <a:lnTo>
                          <a:pt x="54" y="152"/>
                        </a:lnTo>
                        <a:lnTo>
                          <a:pt x="51" y="146"/>
                        </a:lnTo>
                        <a:lnTo>
                          <a:pt x="51" y="139"/>
                        </a:lnTo>
                        <a:lnTo>
                          <a:pt x="53" y="136"/>
                        </a:lnTo>
                        <a:lnTo>
                          <a:pt x="53" y="134"/>
                        </a:lnTo>
                        <a:lnTo>
                          <a:pt x="54" y="130"/>
                        </a:lnTo>
                        <a:lnTo>
                          <a:pt x="56" y="127"/>
                        </a:lnTo>
                        <a:lnTo>
                          <a:pt x="57" y="126"/>
                        </a:lnTo>
                        <a:lnTo>
                          <a:pt x="59" y="123"/>
                        </a:lnTo>
                        <a:lnTo>
                          <a:pt x="38" y="123"/>
                        </a:lnTo>
                        <a:lnTo>
                          <a:pt x="31" y="121"/>
                        </a:lnTo>
                        <a:lnTo>
                          <a:pt x="26" y="120"/>
                        </a:lnTo>
                        <a:lnTo>
                          <a:pt x="16" y="120"/>
                        </a:lnTo>
                        <a:lnTo>
                          <a:pt x="14" y="121"/>
                        </a:lnTo>
                        <a:lnTo>
                          <a:pt x="11" y="123"/>
                        </a:lnTo>
                        <a:lnTo>
                          <a:pt x="10" y="123"/>
                        </a:lnTo>
                        <a:lnTo>
                          <a:pt x="8" y="124"/>
                        </a:lnTo>
                        <a:lnTo>
                          <a:pt x="7" y="123"/>
                        </a:lnTo>
                        <a:lnTo>
                          <a:pt x="7" y="120"/>
                        </a:lnTo>
                        <a:lnTo>
                          <a:pt x="11" y="115"/>
                        </a:lnTo>
                        <a:lnTo>
                          <a:pt x="11" y="109"/>
                        </a:lnTo>
                        <a:lnTo>
                          <a:pt x="2" y="100"/>
                        </a:lnTo>
                        <a:lnTo>
                          <a:pt x="0" y="92"/>
                        </a:lnTo>
                        <a:lnTo>
                          <a:pt x="1" y="83"/>
                        </a:lnTo>
                        <a:lnTo>
                          <a:pt x="2" y="78"/>
                        </a:lnTo>
                        <a:lnTo>
                          <a:pt x="4" y="77"/>
                        </a:lnTo>
                        <a:lnTo>
                          <a:pt x="10" y="74"/>
                        </a:lnTo>
                        <a:lnTo>
                          <a:pt x="13" y="74"/>
                        </a:lnTo>
                        <a:lnTo>
                          <a:pt x="14" y="72"/>
                        </a:lnTo>
                        <a:lnTo>
                          <a:pt x="16" y="72"/>
                        </a:lnTo>
                        <a:lnTo>
                          <a:pt x="16" y="75"/>
                        </a:lnTo>
                        <a:lnTo>
                          <a:pt x="17" y="78"/>
                        </a:lnTo>
                        <a:lnTo>
                          <a:pt x="19" y="83"/>
                        </a:lnTo>
                        <a:lnTo>
                          <a:pt x="20" y="86"/>
                        </a:lnTo>
                        <a:lnTo>
                          <a:pt x="23" y="89"/>
                        </a:lnTo>
                        <a:lnTo>
                          <a:pt x="25" y="89"/>
                        </a:lnTo>
                        <a:lnTo>
                          <a:pt x="28" y="90"/>
                        </a:lnTo>
                        <a:lnTo>
                          <a:pt x="31" y="90"/>
                        </a:lnTo>
                        <a:lnTo>
                          <a:pt x="34" y="87"/>
                        </a:lnTo>
                        <a:lnTo>
                          <a:pt x="35" y="83"/>
                        </a:lnTo>
                        <a:lnTo>
                          <a:pt x="38" y="75"/>
                        </a:lnTo>
                        <a:lnTo>
                          <a:pt x="41" y="69"/>
                        </a:lnTo>
                        <a:lnTo>
                          <a:pt x="51" y="59"/>
                        </a:lnTo>
                        <a:lnTo>
                          <a:pt x="57" y="56"/>
                        </a:lnTo>
                        <a:lnTo>
                          <a:pt x="60" y="56"/>
                        </a:lnTo>
                        <a:lnTo>
                          <a:pt x="66" y="53"/>
                        </a:lnTo>
                        <a:lnTo>
                          <a:pt x="69" y="49"/>
                        </a:lnTo>
                        <a:lnTo>
                          <a:pt x="72" y="46"/>
                        </a:lnTo>
                        <a:lnTo>
                          <a:pt x="75" y="44"/>
                        </a:lnTo>
                        <a:lnTo>
                          <a:pt x="78" y="41"/>
                        </a:lnTo>
                        <a:lnTo>
                          <a:pt x="81" y="40"/>
                        </a:lnTo>
                        <a:lnTo>
                          <a:pt x="82" y="38"/>
                        </a:lnTo>
                        <a:lnTo>
                          <a:pt x="85" y="37"/>
                        </a:lnTo>
                        <a:lnTo>
                          <a:pt x="106" y="24"/>
                        </a:lnTo>
                        <a:lnTo>
                          <a:pt x="112" y="24"/>
                        </a:lnTo>
                        <a:lnTo>
                          <a:pt x="118" y="21"/>
                        </a:lnTo>
                        <a:lnTo>
                          <a:pt x="122" y="16"/>
                        </a:lnTo>
                        <a:lnTo>
                          <a:pt x="110" y="7"/>
                        </a:lnTo>
                        <a:lnTo>
                          <a:pt x="124" y="1"/>
                        </a:lnTo>
                        <a:lnTo>
                          <a:pt x="134" y="12"/>
                        </a:lnTo>
                        <a:lnTo>
                          <a:pt x="149" y="0"/>
                        </a:lnTo>
                        <a:close/>
                      </a:path>
                    </a:pathLst>
                  </a:custGeom>
                  <a:solidFill>
                    <a:schemeClr val="accent1">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0" name="Freeform 279" descr="© INSCALE GmbH, 21.06.2010"/>
                  <p:cNvSpPr>
                    <a:spLocks noChangeAspect="1"/>
                  </p:cNvSpPr>
                  <p:nvPr/>
                </p:nvSpPr>
                <p:spPr bwMode="auto">
                  <a:xfrm>
                    <a:off x="2914326" y="4146771"/>
                    <a:ext cx="194205" cy="264951"/>
                  </a:xfrm>
                  <a:custGeom>
                    <a:avLst/>
                    <a:gdLst>
                      <a:gd name="T0" fmla="*/ 2147483646 w 203"/>
                      <a:gd name="T1" fmla="*/ 2147483646 h 278"/>
                      <a:gd name="T2" fmla="*/ 2147483646 w 203"/>
                      <a:gd name="T3" fmla="*/ 2147483646 h 278"/>
                      <a:gd name="T4" fmla="*/ 2147483646 w 203"/>
                      <a:gd name="T5" fmla="*/ 2147483646 h 278"/>
                      <a:gd name="T6" fmla="*/ 2147483646 w 203"/>
                      <a:gd name="T7" fmla="*/ 2147483646 h 278"/>
                      <a:gd name="T8" fmla="*/ 2147483646 w 203"/>
                      <a:gd name="T9" fmla="*/ 2147483646 h 278"/>
                      <a:gd name="T10" fmla="*/ 2147483646 w 203"/>
                      <a:gd name="T11" fmla="*/ 2147483646 h 278"/>
                      <a:gd name="T12" fmla="*/ 2147483646 w 203"/>
                      <a:gd name="T13" fmla="*/ 2147483646 h 278"/>
                      <a:gd name="T14" fmla="*/ 2147483646 w 203"/>
                      <a:gd name="T15" fmla="*/ 2147483646 h 278"/>
                      <a:gd name="T16" fmla="*/ 2147483646 w 203"/>
                      <a:gd name="T17" fmla="*/ 2147483646 h 278"/>
                      <a:gd name="T18" fmla="*/ 2147483646 w 203"/>
                      <a:gd name="T19" fmla="*/ 2147483646 h 278"/>
                      <a:gd name="T20" fmla="*/ 2147483646 w 203"/>
                      <a:gd name="T21" fmla="*/ 2147483646 h 278"/>
                      <a:gd name="T22" fmla="*/ 2147483646 w 203"/>
                      <a:gd name="T23" fmla="*/ 2147483646 h 278"/>
                      <a:gd name="T24" fmla="*/ 2147483646 w 203"/>
                      <a:gd name="T25" fmla="*/ 2147483646 h 278"/>
                      <a:gd name="T26" fmla="*/ 2147483646 w 203"/>
                      <a:gd name="T27" fmla="*/ 2147483646 h 278"/>
                      <a:gd name="T28" fmla="*/ 2147483646 w 203"/>
                      <a:gd name="T29" fmla="*/ 2147483646 h 278"/>
                      <a:gd name="T30" fmla="*/ 2147483646 w 203"/>
                      <a:gd name="T31" fmla="*/ 2147483646 h 278"/>
                      <a:gd name="T32" fmla="*/ 2147483646 w 203"/>
                      <a:gd name="T33" fmla="*/ 2147483646 h 278"/>
                      <a:gd name="T34" fmla="*/ 2147483646 w 203"/>
                      <a:gd name="T35" fmla="*/ 2147483646 h 278"/>
                      <a:gd name="T36" fmla="*/ 2147483646 w 203"/>
                      <a:gd name="T37" fmla="*/ 2147483646 h 278"/>
                      <a:gd name="T38" fmla="*/ 2147483646 w 203"/>
                      <a:gd name="T39" fmla="*/ 2147483646 h 278"/>
                      <a:gd name="T40" fmla="*/ 2147483646 w 203"/>
                      <a:gd name="T41" fmla="*/ 2147483646 h 278"/>
                      <a:gd name="T42" fmla="*/ 2147483646 w 203"/>
                      <a:gd name="T43" fmla="*/ 2147483646 h 278"/>
                      <a:gd name="T44" fmla="*/ 2147483646 w 203"/>
                      <a:gd name="T45" fmla="*/ 2147483646 h 278"/>
                      <a:gd name="T46" fmla="*/ 2147483646 w 203"/>
                      <a:gd name="T47" fmla="*/ 2147483646 h 278"/>
                      <a:gd name="T48" fmla="*/ 2147483646 w 203"/>
                      <a:gd name="T49" fmla="*/ 2147483646 h 278"/>
                      <a:gd name="T50" fmla="*/ 2147483646 w 203"/>
                      <a:gd name="T51" fmla="*/ 2147483646 h 278"/>
                      <a:gd name="T52" fmla="*/ 2147483646 w 203"/>
                      <a:gd name="T53" fmla="*/ 2147483646 h 278"/>
                      <a:gd name="T54" fmla="*/ 2147483646 w 203"/>
                      <a:gd name="T55" fmla="*/ 2147483646 h 278"/>
                      <a:gd name="T56" fmla="*/ 2147483646 w 203"/>
                      <a:gd name="T57" fmla="*/ 2147483646 h 278"/>
                      <a:gd name="T58" fmla="*/ 2147483646 w 203"/>
                      <a:gd name="T59" fmla="*/ 2147483646 h 278"/>
                      <a:gd name="T60" fmla="*/ 2147483646 w 203"/>
                      <a:gd name="T61" fmla="*/ 2147483646 h 278"/>
                      <a:gd name="T62" fmla="*/ 2147483646 w 203"/>
                      <a:gd name="T63" fmla="*/ 2147483646 h 278"/>
                      <a:gd name="T64" fmla="*/ 2147483646 w 203"/>
                      <a:gd name="T65" fmla="*/ 2147483646 h 278"/>
                      <a:gd name="T66" fmla="*/ 2147483646 w 203"/>
                      <a:gd name="T67" fmla="*/ 2147483646 h 278"/>
                      <a:gd name="T68" fmla="*/ 2147483646 w 203"/>
                      <a:gd name="T69" fmla="*/ 2147483646 h 278"/>
                      <a:gd name="T70" fmla="*/ 2147483646 w 203"/>
                      <a:gd name="T71" fmla="*/ 2147483646 h 278"/>
                      <a:gd name="T72" fmla="*/ 2147483646 w 203"/>
                      <a:gd name="T73" fmla="*/ 2147483646 h 278"/>
                      <a:gd name="T74" fmla="*/ 2147483646 w 203"/>
                      <a:gd name="T75" fmla="*/ 2147483646 h 278"/>
                      <a:gd name="T76" fmla="*/ 2147483646 w 203"/>
                      <a:gd name="T77" fmla="*/ 2147483646 h 278"/>
                      <a:gd name="T78" fmla="*/ 2147483646 w 203"/>
                      <a:gd name="T79" fmla="*/ 2147483646 h 278"/>
                      <a:gd name="T80" fmla="*/ 2147483646 w 203"/>
                      <a:gd name="T81" fmla="*/ 2147483646 h 278"/>
                      <a:gd name="T82" fmla="*/ 2147483646 w 203"/>
                      <a:gd name="T83" fmla="*/ 2147483646 h 278"/>
                      <a:gd name="T84" fmla="*/ 2147483646 w 203"/>
                      <a:gd name="T85" fmla="*/ 2147483646 h 278"/>
                      <a:gd name="T86" fmla="*/ 2147483646 w 203"/>
                      <a:gd name="T87" fmla="*/ 2147483646 h 278"/>
                      <a:gd name="T88" fmla="*/ 2147483646 w 203"/>
                      <a:gd name="T89" fmla="*/ 2147483646 h 278"/>
                      <a:gd name="T90" fmla="*/ 2147483646 w 203"/>
                      <a:gd name="T91" fmla="*/ 2147483646 h 278"/>
                      <a:gd name="T92" fmla="*/ 2147483646 w 203"/>
                      <a:gd name="T93" fmla="*/ 2147483646 h 278"/>
                      <a:gd name="T94" fmla="*/ 2147483646 w 203"/>
                      <a:gd name="T95" fmla="*/ 2147483646 h 278"/>
                      <a:gd name="T96" fmla="*/ 2147483646 w 203"/>
                      <a:gd name="T97" fmla="*/ 2147483646 h 278"/>
                      <a:gd name="T98" fmla="*/ 2147483646 w 203"/>
                      <a:gd name="T99" fmla="*/ 2147483646 h 278"/>
                      <a:gd name="T100" fmla="*/ 2147483646 w 203"/>
                      <a:gd name="T101" fmla="*/ 2147483646 h 278"/>
                      <a:gd name="T102" fmla="*/ 2147483646 w 203"/>
                      <a:gd name="T103" fmla="*/ 2147483646 h 278"/>
                      <a:gd name="T104" fmla="*/ 2147483646 w 203"/>
                      <a:gd name="T105" fmla="*/ 2147483646 h 278"/>
                      <a:gd name="T106" fmla="*/ 2147483646 w 203"/>
                      <a:gd name="T107" fmla="*/ 2147483646 h 278"/>
                      <a:gd name="T108" fmla="*/ 0 w 203"/>
                      <a:gd name="T109" fmla="*/ 2147483646 h 278"/>
                      <a:gd name="T110" fmla="*/ 2147483646 w 203"/>
                      <a:gd name="T111" fmla="*/ 2147483646 h 278"/>
                      <a:gd name="T112" fmla="*/ 2147483646 w 203"/>
                      <a:gd name="T113" fmla="*/ 2147483646 h 278"/>
                      <a:gd name="T114" fmla="*/ 2147483646 w 203"/>
                      <a:gd name="T115" fmla="*/ 2147483646 h 278"/>
                      <a:gd name="T116" fmla="*/ 2147483646 w 203"/>
                      <a:gd name="T117" fmla="*/ 2147483646 h 278"/>
                      <a:gd name="T118" fmla="*/ 2147483646 w 203"/>
                      <a:gd name="T119" fmla="*/ 2147483646 h 2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3"/>
                      <a:gd name="T181" fmla="*/ 0 h 278"/>
                      <a:gd name="T182" fmla="*/ 203 w 203"/>
                      <a:gd name="T183" fmla="*/ 278 h 2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3" h="278">
                        <a:moveTo>
                          <a:pt x="105" y="0"/>
                        </a:moveTo>
                        <a:lnTo>
                          <a:pt x="111" y="0"/>
                        </a:lnTo>
                        <a:lnTo>
                          <a:pt x="113" y="2"/>
                        </a:lnTo>
                        <a:lnTo>
                          <a:pt x="114" y="2"/>
                        </a:lnTo>
                        <a:lnTo>
                          <a:pt x="117" y="4"/>
                        </a:lnTo>
                        <a:lnTo>
                          <a:pt x="107" y="15"/>
                        </a:lnTo>
                        <a:lnTo>
                          <a:pt x="110" y="21"/>
                        </a:lnTo>
                        <a:lnTo>
                          <a:pt x="108" y="24"/>
                        </a:lnTo>
                        <a:lnTo>
                          <a:pt x="107" y="25"/>
                        </a:lnTo>
                        <a:lnTo>
                          <a:pt x="107" y="28"/>
                        </a:lnTo>
                        <a:lnTo>
                          <a:pt x="108" y="30"/>
                        </a:lnTo>
                        <a:lnTo>
                          <a:pt x="110" y="33"/>
                        </a:lnTo>
                        <a:lnTo>
                          <a:pt x="111" y="34"/>
                        </a:lnTo>
                        <a:lnTo>
                          <a:pt x="113" y="37"/>
                        </a:lnTo>
                        <a:lnTo>
                          <a:pt x="116" y="37"/>
                        </a:lnTo>
                        <a:lnTo>
                          <a:pt x="117" y="38"/>
                        </a:lnTo>
                        <a:lnTo>
                          <a:pt x="120" y="40"/>
                        </a:lnTo>
                        <a:lnTo>
                          <a:pt x="122" y="41"/>
                        </a:lnTo>
                        <a:lnTo>
                          <a:pt x="122" y="43"/>
                        </a:lnTo>
                        <a:lnTo>
                          <a:pt x="119" y="49"/>
                        </a:lnTo>
                        <a:lnTo>
                          <a:pt x="117" y="50"/>
                        </a:lnTo>
                        <a:lnTo>
                          <a:pt x="116" y="53"/>
                        </a:lnTo>
                        <a:lnTo>
                          <a:pt x="116" y="56"/>
                        </a:lnTo>
                        <a:lnTo>
                          <a:pt x="117" y="58"/>
                        </a:lnTo>
                        <a:lnTo>
                          <a:pt x="119" y="61"/>
                        </a:lnTo>
                        <a:lnTo>
                          <a:pt x="120" y="62"/>
                        </a:lnTo>
                        <a:lnTo>
                          <a:pt x="120" y="65"/>
                        </a:lnTo>
                        <a:lnTo>
                          <a:pt x="122" y="68"/>
                        </a:lnTo>
                        <a:lnTo>
                          <a:pt x="122" y="70"/>
                        </a:lnTo>
                        <a:lnTo>
                          <a:pt x="123" y="71"/>
                        </a:lnTo>
                        <a:lnTo>
                          <a:pt x="125" y="71"/>
                        </a:lnTo>
                        <a:lnTo>
                          <a:pt x="126" y="73"/>
                        </a:lnTo>
                        <a:lnTo>
                          <a:pt x="131" y="73"/>
                        </a:lnTo>
                        <a:lnTo>
                          <a:pt x="131" y="83"/>
                        </a:lnTo>
                        <a:lnTo>
                          <a:pt x="129" y="87"/>
                        </a:lnTo>
                        <a:lnTo>
                          <a:pt x="129" y="95"/>
                        </a:lnTo>
                        <a:lnTo>
                          <a:pt x="135" y="95"/>
                        </a:lnTo>
                        <a:lnTo>
                          <a:pt x="141" y="98"/>
                        </a:lnTo>
                        <a:lnTo>
                          <a:pt x="142" y="99"/>
                        </a:lnTo>
                        <a:lnTo>
                          <a:pt x="142" y="121"/>
                        </a:lnTo>
                        <a:lnTo>
                          <a:pt x="138" y="123"/>
                        </a:lnTo>
                        <a:lnTo>
                          <a:pt x="141" y="123"/>
                        </a:lnTo>
                        <a:lnTo>
                          <a:pt x="144" y="124"/>
                        </a:lnTo>
                        <a:lnTo>
                          <a:pt x="148" y="124"/>
                        </a:lnTo>
                        <a:lnTo>
                          <a:pt x="151" y="126"/>
                        </a:lnTo>
                        <a:lnTo>
                          <a:pt x="154" y="126"/>
                        </a:lnTo>
                        <a:lnTo>
                          <a:pt x="156" y="127"/>
                        </a:lnTo>
                        <a:lnTo>
                          <a:pt x="160" y="136"/>
                        </a:lnTo>
                        <a:lnTo>
                          <a:pt x="162" y="138"/>
                        </a:lnTo>
                        <a:lnTo>
                          <a:pt x="165" y="139"/>
                        </a:lnTo>
                        <a:lnTo>
                          <a:pt x="168" y="139"/>
                        </a:lnTo>
                        <a:lnTo>
                          <a:pt x="172" y="138"/>
                        </a:lnTo>
                        <a:lnTo>
                          <a:pt x="178" y="135"/>
                        </a:lnTo>
                        <a:lnTo>
                          <a:pt x="179" y="135"/>
                        </a:lnTo>
                        <a:lnTo>
                          <a:pt x="182" y="136"/>
                        </a:lnTo>
                        <a:lnTo>
                          <a:pt x="185" y="136"/>
                        </a:lnTo>
                        <a:lnTo>
                          <a:pt x="187" y="138"/>
                        </a:lnTo>
                        <a:lnTo>
                          <a:pt x="188" y="138"/>
                        </a:lnTo>
                        <a:lnTo>
                          <a:pt x="191" y="136"/>
                        </a:lnTo>
                        <a:lnTo>
                          <a:pt x="193" y="135"/>
                        </a:lnTo>
                        <a:lnTo>
                          <a:pt x="197" y="135"/>
                        </a:lnTo>
                        <a:lnTo>
                          <a:pt x="199" y="136"/>
                        </a:lnTo>
                        <a:lnTo>
                          <a:pt x="200" y="139"/>
                        </a:lnTo>
                        <a:lnTo>
                          <a:pt x="203" y="142"/>
                        </a:lnTo>
                        <a:lnTo>
                          <a:pt x="203" y="152"/>
                        </a:lnTo>
                        <a:lnTo>
                          <a:pt x="202" y="155"/>
                        </a:lnTo>
                        <a:lnTo>
                          <a:pt x="202" y="163"/>
                        </a:lnTo>
                        <a:lnTo>
                          <a:pt x="200" y="166"/>
                        </a:lnTo>
                        <a:lnTo>
                          <a:pt x="197" y="167"/>
                        </a:lnTo>
                        <a:lnTo>
                          <a:pt x="196" y="169"/>
                        </a:lnTo>
                        <a:lnTo>
                          <a:pt x="196" y="170"/>
                        </a:lnTo>
                        <a:lnTo>
                          <a:pt x="191" y="175"/>
                        </a:lnTo>
                        <a:lnTo>
                          <a:pt x="188" y="175"/>
                        </a:lnTo>
                        <a:lnTo>
                          <a:pt x="193" y="185"/>
                        </a:lnTo>
                        <a:lnTo>
                          <a:pt x="196" y="203"/>
                        </a:lnTo>
                        <a:lnTo>
                          <a:pt x="185" y="212"/>
                        </a:lnTo>
                        <a:lnTo>
                          <a:pt x="178" y="206"/>
                        </a:lnTo>
                        <a:lnTo>
                          <a:pt x="173" y="206"/>
                        </a:lnTo>
                        <a:lnTo>
                          <a:pt x="168" y="200"/>
                        </a:lnTo>
                        <a:lnTo>
                          <a:pt x="166" y="200"/>
                        </a:lnTo>
                        <a:lnTo>
                          <a:pt x="163" y="203"/>
                        </a:lnTo>
                        <a:lnTo>
                          <a:pt x="163" y="206"/>
                        </a:lnTo>
                        <a:lnTo>
                          <a:pt x="150" y="213"/>
                        </a:lnTo>
                        <a:lnTo>
                          <a:pt x="150" y="214"/>
                        </a:lnTo>
                        <a:lnTo>
                          <a:pt x="151" y="216"/>
                        </a:lnTo>
                        <a:lnTo>
                          <a:pt x="151" y="222"/>
                        </a:lnTo>
                        <a:lnTo>
                          <a:pt x="153" y="225"/>
                        </a:lnTo>
                        <a:lnTo>
                          <a:pt x="153" y="232"/>
                        </a:lnTo>
                        <a:lnTo>
                          <a:pt x="154" y="235"/>
                        </a:lnTo>
                        <a:lnTo>
                          <a:pt x="141" y="244"/>
                        </a:lnTo>
                        <a:lnTo>
                          <a:pt x="141" y="247"/>
                        </a:lnTo>
                        <a:lnTo>
                          <a:pt x="142" y="250"/>
                        </a:lnTo>
                        <a:lnTo>
                          <a:pt x="142" y="257"/>
                        </a:lnTo>
                        <a:lnTo>
                          <a:pt x="138" y="262"/>
                        </a:lnTo>
                        <a:lnTo>
                          <a:pt x="138" y="263"/>
                        </a:lnTo>
                        <a:lnTo>
                          <a:pt x="136" y="265"/>
                        </a:lnTo>
                        <a:lnTo>
                          <a:pt x="136" y="274"/>
                        </a:lnTo>
                        <a:lnTo>
                          <a:pt x="135" y="277"/>
                        </a:lnTo>
                        <a:lnTo>
                          <a:pt x="135" y="278"/>
                        </a:lnTo>
                        <a:lnTo>
                          <a:pt x="133" y="278"/>
                        </a:lnTo>
                        <a:lnTo>
                          <a:pt x="131" y="277"/>
                        </a:lnTo>
                        <a:lnTo>
                          <a:pt x="128" y="277"/>
                        </a:lnTo>
                        <a:lnTo>
                          <a:pt x="126" y="278"/>
                        </a:lnTo>
                        <a:lnTo>
                          <a:pt x="119" y="278"/>
                        </a:lnTo>
                        <a:lnTo>
                          <a:pt x="116" y="275"/>
                        </a:lnTo>
                        <a:lnTo>
                          <a:pt x="113" y="278"/>
                        </a:lnTo>
                        <a:lnTo>
                          <a:pt x="110" y="278"/>
                        </a:lnTo>
                        <a:lnTo>
                          <a:pt x="107" y="275"/>
                        </a:lnTo>
                        <a:lnTo>
                          <a:pt x="104" y="274"/>
                        </a:lnTo>
                        <a:lnTo>
                          <a:pt x="101" y="271"/>
                        </a:lnTo>
                        <a:lnTo>
                          <a:pt x="98" y="269"/>
                        </a:lnTo>
                        <a:lnTo>
                          <a:pt x="97" y="268"/>
                        </a:lnTo>
                        <a:lnTo>
                          <a:pt x="94" y="266"/>
                        </a:lnTo>
                        <a:lnTo>
                          <a:pt x="82" y="265"/>
                        </a:lnTo>
                        <a:lnTo>
                          <a:pt x="79" y="272"/>
                        </a:lnTo>
                        <a:lnTo>
                          <a:pt x="70" y="272"/>
                        </a:lnTo>
                        <a:lnTo>
                          <a:pt x="70" y="268"/>
                        </a:lnTo>
                        <a:lnTo>
                          <a:pt x="71" y="266"/>
                        </a:lnTo>
                        <a:lnTo>
                          <a:pt x="71" y="265"/>
                        </a:lnTo>
                        <a:lnTo>
                          <a:pt x="70" y="263"/>
                        </a:lnTo>
                        <a:lnTo>
                          <a:pt x="67" y="263"/>
                        </a:lnTo>
                        <a:lnTo>
                          <a:pt x="67" y="260"/>
                        </a:lnTo>
                        <a:lnTo>
                          <a:pt x="68" y="260"/>
                        </a:lnTo>
                        <a:lnTo>
                          <a:pt x="71" y="259"/>
                        </a:lnTo>
                        <a:lnTo>
                          <a:pt x="73" y="257"/>
                        </a:lnTo>
                        <a:lnTo>
                          <a:pt x="77" y="257"/>
                        </a:lnTo>
                        <a:lnTo>
                          <a:pt x="77" y="253"/>
                        </a:lnTo>
                        <a:lnTo>
                          <a:pt x="74" y="250"/>
                        </a:lnTo>
                        <a:lnTo>
                          <a:pt x="70" y="248"/>
                        </a:lnTo>
                        <a:lnTo>
                          <a:pt x="67" y="247"/>
                        </a:lnTo>
                        <a:lnTo>
                          <a:pt x="65" y="244"/>
                        </a:lnTo>
                        <a:lnTo>
                          <a:pt x="65" y="234"/>
                        </a:lnTo>
                        <a:lnTo>
                          <a:pt x="49" y="243"/>
                        </a:lnTo>
                        <a:lnTo>
                          <a:pt x="45" y="238"/>
                        </a:lnTo>
                        <a:lnTo>
                          <a:pt x="45" y="237"/>
                        </a:lnTo>
                        <a:lnTo>
                          <a:pt x="43" y="234"/>
                        </a:lnTo>
                        <a:lnTo>
                          <a:pt x="39" y="234"/>
                        </a:lnTo>
                        <a:lnTo>
                          <a:pt x="37" y="232"/>
                        </a:lnTo>
                        <a:lnTo>
                          <a:pt x="36" y="232"/>
                        </a:lnTo>
                        <a:lnTo>
                          <a:pt x="34" y="231"/>
                        </a:lnTo>
                        <a:lnTo>
                          <a:pt x="31" y="229"/>
                        </a:lnTo>
                        <a:lnTo>
                          <a:pt x="30" y="228"/>
                        </a:lnTo>
                        <a:lnTo>
                          <a:pt x="28" y="225"/>
                        </a:lnTo>
                        <a:lnTo>
                          <a:pt x="28" y="222"/>
                        </a:lnTo>
                        <a:lnTo>
                          <a:pt x="30" y="220"/>
                        </a:lnTo>
                        <a:lnTo>
                          <a:pt x="33" y="219"/>
                        </a:lnTo>
                        <a:lnTo>
                          <a:pt x="39" y="219"/>
                        </a:lnTo>
                        <a:lnTo>
                          <a:pt x="40" y="217"/>
                        </a:lnTo>
                        <a:lnTo>
                          <a:pt x="40" y="210"/>
                        </a:lnTo>
                        <a:lnTo>
                          <a:pt x="39" y="210"/>
                        </a:lnTo>
                        <a:lnTo>
                          <a:pt x="39" y="207"/>
                        </a:lnTo>
                        <a:lnTo>
                          <a:pt x="40" y="204"/>
                        </a:lnTo>
                        <a:lnTo>
                          <a:pt x="45" y="198"/>
                        </a:lnTo>
                        <a:lnTo>
                          <a:pt x="54" y="183"/>
                        </a:lnTo>
                        <a:lnTo>
                          <a:pt x="55" y="180"/>
                        </a:lnTo>
                        <a:lnTo>
                          <a:pt x="57" y="179"/>
                        </a:lnTo>
                        <a:lnTo>
                          <a:pt x="62" y="179"/>
                        </a:lnTo>
                        <a:lnTo>
                          <a:pt x="62" y="177"/>
                        </a:lnTo>
                        <a:lnTo>
                          <a:pt x="61" y="177"/>
                        </a:lnTo>
                        <a:lnTo>
                          <a:pt x="60" y="176"/>
                        </a:lnTo>
                        <a:lnTo>
                          <a:pt x="60" y="160"/>
                        </a:lnTo>
                        <a:lnTo>
                          <a:pt x="57" y="161"/>
                        </a:lnTo>
                        <a:lnTo>
                          <a:pt x="55" y="163"/>
                        </a:lnTo>
                        <a:lnTo>
                          <a:pt x="52" y="164"/>
                        </a:lnTo>
                        <a:lnTo>
                          <a:pt x="51" y="166"/>
                        </a:lnTo>
                        <a:lnTo>
                          <a:pt x="48" y="167"/>
                        </a:lnTo>
                        <a:lnTo>
                          <a:pt x="46" y="167"/>
                        </a:lnTo>
                        <a:lnTo>
                          <a:pt x="42" y="163"/>
                        </a:lnTo>
                        <a:lnTo>
                          <a:pt x="39" y="157"/>
                        </a:lnTo>
                        <a:lnTo>
                          <a:pt x="39" y="154"/>
                        </a:lnTo>
                        <a:lnTo>
                          <a:pt x="43" y="154"/>
                        </a:lnTo>
                        <a:lnTo>
                          <a:pt x="46" y="151"/>
                        </a:lnTo>
                        <a:lnTo>
                          <a:pt x="48" y="148"/>
                        </a:lnTo>
                        <a:lnTo>
                          <a:pt x="51" y="146"/>
                        </a:lnTo>
                        <a:lnTo>
                          <a:pt x="52" y="143"/>
                        </a:lnTo>
                        <a:lnTo>
                          <a:pt x="54" y="142"/>
                        </a:lnTo>
                        <a:lnTo>
                          <a:pt x="54" y="124"/>
                        </a:lnTo>
                        <a:lnTo>
                          <a:pt x="51" y="123"/>
                        </a:lnTo>
                        <a:lnTo>
                          <a:pt x="49" y="121"/>
                        </a:lnTo>
                        <a:lnTo>
                          <a:pt x="48" y="118"/>
                        </a:lnTo>
                        <a:lnTo>
                          <a:pt x="46" y="117"/>
                        </a:lnTo>
                        <a:lnTo>
                          <a:pt x="46" y="115"/>
                        </a:lnTo>
                        <a:lnTo>
                          <a:pt x="48" y="114"/>
                        </a:lnTo>
                        <a:lnTo>
                          <a:pt x="48" y="107"/>
                        </a:lnTo>
                        <a:lnTo>
                          <a:pt x="46" y="105"/>
                        </a:lnTo>
                        <a:lnTo>
                          <a:pt x="43" y="104"/>
                        </a:lnTo>
                        <a:lnTo>
                          <a:pt x="42" y="101"/>
                        </a:lnTo>
                        <a:lnTo>
                          <a:pt x="40" y="99"/>
                        </a:lnTo>
                        <a:lnTo>
                          <a:pt x="30" y="105"/>
                        </a:lnTo>
                        <a:lnTo>
                          <a:pt x="28" y="107"/>
                        </a:lnTo>
                        <a:lnTo>
                          <a:pt x="27" y="107"/>
                        </a:lnTo>
                        <a:lnTo>
                          <a:pt x="24" y="104"/>
                        </a:lnTo>
                        <a:lnTo>
                          <a:pt x="20" y="108"/>
                        </a:lnTo>
                        <a:lnTo>
                          <a:pt x="20" y="109"/>
                        </a:lnTo>
                        <a:lnTo>
                          <a:pt x="17" y="112"/>
                        </a:lnTo>
                        <a:lnTo>
                          <a:pt x="17" y="114"/>
                        </a:lnTo>
                        <a:lnTo>
                          <a:pt x="14" y="114"/>
                        </a:lnTo>
                        <a:lnTo>
                          <a:pt x="12" y="112"/>
                        </a:lnTo>
                        <a:lnTo>
                          <a:pt x="12" y="109"/>
                        </a:lnTo>
                        <a:lnTo>
                          <a:pt x="9" y="104"/>
                        </a:lnTo>
                        <a:lnTo>
                          <a:pt x="9" y="96"/>
                        </a:lnTo>
                        <a:lnTo>
                          <a:pt x="8" y="93"/>
                        </a:lnTo>
                        <a:lnTo>
                          <a:pt x="5" y="90"/>
                        </a:lnTo>
                        <a:lnTo>
                          <a:pt x="3" y="87"/>
                        </a:lnTo>
                        <a:lnTo>
                          <a:pt x="2" y="86"/>
                        </a:lnTo>
                        <a:lnTo>
                          <a:pt x="2" y="84"/>
                        </a:lnTo>
                        <a:lnTo>
                          <a:pt x="5" y="81"/>
                        </a:lnTo>
                        <a:lnTo>
                          <a:pt x="8" y="80"/>
                        </a:lnTo>
                        <a:lnTo>
                          <a:pt x="11" y="77"/>
                        </a:lnTo>
                        <a:lnTo>
                          <a:pt x="12" y="74"/>
                        </a:lnTo>
                        <a:lnTo>
                          <a:pt x="14" y="73"/>
                        </a:lnTo>
                        <a:lnTo>
                          <a:pt x="14" y="70"/>
                        </a:lnTo>
                        <a:lnTo>
                          <a:pt x="15" y="67"/>
                        </a:lnTo>
                        <a:lnTo>
                          <a:pt x="14" y="64"/>
                        </a:lnTo>
                        <a:lnTo>
                          <a:pt x="12" y="62"/>
                        </a:lnTo>
                        <a:lnTo>
                          <a:pt x="9" y="61"/>
                        </a:lnTo>
                        <a:lnTo>
                          <a:pt x="6" y="58"/>
                        </a:lnTo>
                        <a:lnTo>
                          <a:pt x="3" y="56"/>
                        </a:lnTo>
                        <a:lnTo>
                          <a:pt x="2" y="55"/>
                        </a:lnTo>
                        <a:lnTo>
                          <a:pt x="0" y="55"/>
                        </a:lnTo>
                        <a:lnTo>
                          <a:pt x="5" y="52"/>
                        </a:lnTo>
                        <a:lnTo>
                          <a:pt x="5" y="41"/>
                        </a:lnTo>
                        <a:lnTo>
                          <a:pt x="34" y="25"/>
                        </a:lnTo>
                        <a:lnTo>
                          <a:pt x="34" y="24"/>
                        </a:lnTo>
                        <a:lnTo>
                          <a:pt x="36" y="22"/>
                        </a:lnTo>
                        <a:lnTo>
                          <a:pt x="37" y="19"/>
                        </a:lnTo>
                        <a:lnTo>
                          <a:pt x="40" y="16"/>
                        </a:lnTo>
                        <a:lnTo>
                          <a:pt x="40" y="12"/>
                        </a:lnTo>
                        <a:lnTo>
                          <a:pt x="42" y="10"/>
                        </a:lnTo>
                        <a:lnTo>
                          <a:pt x="43" y="10"/>
                        </a:lnTo>
                        <a:lnTo>
                          <a:pt x="48" y="15"/>
                        </a:lnTo>
                        <a:lnTo>
                          <a:pt x="48" y="16"/>
                        </a:lnTo>
                        <a:lnTo>
                          <a:pt x="49" y="18"/>
                        </a:lnTo>
                        <a:lnTo>
                          <a:pt x="68" y="18"/>
                        </a:lnTo>
                        <a:lnTo>
                          <a:pt x="68" y="16"/>
                        </a:lnTo>
                        <a:lnTo>
                          <a:pt x="70" y="15"/>
                        </a:lnTo>
                        <a:lnTo>
                          <a:pt x="73" y="9"/>
                        </a:lnTo>
                        <a:lnTo>
                          <a:pt x="73" y="7"/>
                        </a:lnTo>
                        <a:lnTo>
                          <a:pt x="74" y="6"/>
                        </a:lnTo>
                        <a:lnTo>
                          <a:pt x="97" y="6"/>
                        </a:lnTo>
                        <a:lnTo>
                          <a:pt x="99" y="2"/>
                        </a:lnTo>
                        <a:lnTo>
                          <a:pt x="105"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1" name="Freeform 280" descr="© INSCALE GmbH, 21.06.2010"/>
                  <p:cNvSpPr>
                    <a:spLocks noChangeAspect="1"/>
                  </p:cNvSpPr>
                  <p:nvPr/>
                </p:nvSpPr>
                <p:spPr bwMode="auto">
                  <a:xfrm>
                    <a:off x="2876872" y="3920661"/>
                    <a:ext cx="206689" cy="148428"/>
                  </a:xfrm>
                  <a:custGeom>
                    <a:avLst/>
                    <a:gdLst>
                      <a:gd name="T0" fmla="*/ 2147483646 w 216"/>
                      <a:gd name="T1" fmla="*/ 0 h 154"/>
                      <a:gd name="T2" fmla="*/ 2147483646 w 216"/>
                      <a:gd name="T3" fmla="*/ 2147483646 h 154"/>
                      <a:gd name="T4" fmla="*/ 2147483646 w 216"/>
                      <a:gd name="T5" fmla="*/ 2147483646 h 154"/>
                      <a:gd name="T6" fmla="*/ 2147483646 w 216"/>
                      <a:gd name="T7" fmla="*/ 2147483646 h 154"/>
                      <a:gd name="T8" fmla="*/ 2147483646 w 216"/>
                      <a:gd name="T9" fmla="*/ 2147483646 h 154"/>
                      <a:gd name="T10" fmla="*/ 2147483646 w 216"/>
                      <a:gd name="T11" fmla="*/ 2147483646 h 154"/>
                      <a:gd name="T12" fmla="*/ 2147483646 w 216"/>
                      <a:gd name="T13" fmla="*/ 2147483646 h 154"/>
                      <a:gd name="T14" fmla="*/ 2147483646 w 216"/>
                      <a:gd name="T15" fmla="*/ 2147483646 h 154"/>
                      <a:gd name="T16" fmla="*/ 2147483646 w 216"/>
                      <a:gd name="T17" fmla="*/ 2147483646 h 154"/>
                      <a:gd name="T18" fmla="*/ 2147483646 w 216"/>
                      <a:gd name="T19" fmla="*/ 2147483646 h 154"/>
                      <a:gd name="T20" fmla="*/ 2147483646 w 216"/>
                      <a:gd name="T21" fmla="*/ 2147483646 h 154"/>
                      <a:gd name="T22" fmla="*/ 2147483646 w 216"/>
                      <a:gd name="T23" fmla="*/ 2147483646 h 154"/>
                      <a:gd name="T24" fmla="*/ 2147483646 w 216"/>
                      <a:gd name="T25" fmla="*/ 2147483646 h 154"/>
                      <a:gd name="T26" fmla="*/ 2147483646 w 216"/>
                      <a:gd name="T27" fmla="*/ 2147483646 h 154"/>
                      <a:gd name="T28" fmla="*/ 2147483646 w 216"/>
                      <a:gd name="T29" fmla="*/ 2147483646 h 154"/>
                      <a:gd name="T30" fmla="*/ 2147483646 w 216"/>
                      <a:gd name="T31" fmla="*/ 2147483646 h 154"/>
                      <a:gd name="T32" fmla="*/ 2147483646 w 216"/>
                      <a:gd name="T33" fmla="*/ 2147483646 h 154"/>
                      <a:gd name="T34" fmla="*/ 2147483646 w 216"/>
                      <a:gd name="T35" fmla="*/ 2147483646 h 154"/>
                      <a:gd name="T36" fmla="*/ 2147483646 w 216"/>
                      <a:gd name="T37" fmla="*/ 2147483646 h 154"/>
                      <a:gd name="T38" fmla="*/ 2147483646 w 216"/>
                      <a:gd name="T39" fmla="*/ 2147483646 h 154"/>
                      <a:gd name="T40" fmla="*/ 2147483646 w 216"/>
                      <a:gd name="T41" fmla="*/ 2147483646 h 154"/>
                      <a:gd name="T42" fmla="*/ 2147483646 w 216"/>
                      <a:gd name="T43" fmla="*/ 2147483646 h 154"/>
                      <a:gd name="T44" fmla="*/ 2147483646 w 216"/>
                      <a:gd name="T45" fmla="*/ 2147483646 h 154"/>
                      <a:gd name="T46" fmla="*/ 2147483646 w 216"/>
                      <a:gd name="T47" fmla="*/ 2147483646 h 154"/>
                      <a:gd name="T48" fmla="*/ 2147483646 w 216"/>
                      <a:gd name="T49" fmla="*/ 2147483646 h 154"/>
                      <a:gd name="T50" fmla="*/ 2147483646 w 216"/>
                      <a:gd name="T51" fmla="*/ 2147483646 h 154"/>
                      <a:gd name="T52" fmla="*/ 2147483646 w 216"/>
                      <a:gd name="T53" fmla="*/ 2147483646 h 154"/>
                      <a:gd name="T54" fmla="*/ 2147483646 w 216"/>
                      <a:gd name="T55" fmla="*/ 2147483646 h 154"/>
                      <a:gd name="T56" fmla="*/ 2147483646 w 216"/>
                      <a:gd name="T57" fmla="*/ 2147483646 h 154"/>
                      <a:gd name="T58" fmla="*/ 2147483646 w 216"/>
                      <a:gd name="T59" fmla="*/ 2147483646 h 154"/>
                      <a:gd name="T60" fmla="*/ 2147483646 w 216"/>
                      <a:gd name="T61" fmla="*/ 2147483646 h 154"/>
                      <a:gd name="T62" fmla="*/ 2147483646 w 216"/>
                      <a:gd name="T63" fmla="*/ 2147483646 h 154"/>
                      <a:gd name="T64" fmla="*/ 2147483646 w 216"/>
                      <a:gd name="T65" fmla="*/ 2147483646 h 154"/>
                      <a:gd name="T66" fmla="*/ 2147483646 w 216"/>
                      <a:gd name="T67" fmla="*/ 2147483646 h 154"/>
                      <a:gd name="T68" fmla="*/ 2147483646 w 216"/>
                      <a:gd name="T69" fmla="*/ 2147483646 h 154"/>
                      <a:gd name="T70" fmla="*/ 2147483646 w 216"/>
                      <a:gd name="T71" fmla="*/ 2147483646 h 154"/>
                      <a:gd name="T72" fmla="*/ 0 w 216"/>
                      <a:gd name="T73" fmla="*/ 2147483646 h 154"/>
                      <a:gd name="T74" fmla="*/ 2147483646 w 216"/>
                      <a:gd name="T75" fmla="*/ 2147483646 h 154"/>
                      <a:gd name="T76" fmla="*/ 2147483646 w 216"/>
                      <a:gd name="T77" fmla="*/ 2147483646 h 154"/>
                      <a:gd name="T78" fmla="*/ 2147483646 w 216"/>
                      <a:gd name="T79" fmla="*/ 2147483646 h 154"/>
                      <a:gd name="T80" fmla="*/ 2147483646 w 216"/>
                      <a:gd name="T81" fmla="*/ 2147483646 h 154"/>
                      <a:gd name="T82" fmla="*/ 2147483646 w 216"/>
                      <a:gd name="T83" fmla="*/ 2147483646 h 154"/>
                      <a:gd name="T84" fmla="*/ 2147483646 w 216"/>
                      <a:gd name="T85" fmla="*/ 2147483646 h 154"/>
                      <a:gd name="T86" fmla="*/ 2147483646 w 216"/>
                      <a:gd name="T87" fmla="*/ 2147483646 h 154"/>
                      <a:gd name="T88" fmla="*/ 2147483646 w 216"/>
                      <a:gd name="T89" fmla="*/ 2147483646 h 154"/>
                      <a:gd name="T90" fmla="*/ 2147483646 w 216"/>
                      <a:gd name="T91" fmla="*/ 2147483646 h 154"/>
                      <a:gd name="T92" fmla="*/ 2147483646 w 216"/>
                      <a:gd name="T93" fmla="*/ 2147483646 h 154"/>
                      <a:gd name="T94" fmla="*/ 2147483646 w 216"/>
                      <a:gd name="T95" fmla="*/ 2147483646 h 154"/>
                      <a:gd name="T96" fmla="*/ 2147483646 w 216"/>
                      <a:gd name="T97" fmla="*/ 2147483646 h 154"/>
                      <a:gd name="T98" fmla="*/ 2147483646 w 216"/>
                      <a:gd name="T99" fmla="*/ 2147483646 h 154"/>
                      <a:gd name="T100" fmla="*/ 2147483646 w 216"/>
                      <a:gd name="T101" fmla="*/ 2147483646 h 154"/>
                      <a:gd name="T102" fmla="*/ 2147483646 w 216"/>
                      <a:gd name="T103" fmla="*/ 2147483646 h 154"/>
                      <a:gd name="T104" fmla="*/ 2147483646 w 216"/>
                      <a:gd name="T105" fmla="*/ 2147483646 h 154"/>
                      <a:gd name="T106" fmla="*/ 2147483646 w 216"/>
                      <a:gd name="T107" fmla="*/ 2147483646 h 154"/>
                      <a:gd name="T108" fmla="*/ 2147483646 w 216"/>
                      <a:gd name="T109" fmla="*/ 2147483646 h 154"/>
                      <a:gd name="T110" fmla="*/ 2147483646 w 216"/>
                      <a:gd name="T111" fmla="*/ 2147483646 h 154"/>
                      <a:gd name="T112" fmla="*/ 2147483646 w 216"/>
                      <a:gd name="T113" fmla="*/ 2147483646 h 154"/>
                      <a:gd name="T114" fmla="*/ 2147483646 w 216"/>
                      <a:gd name="T115" fmla="*/ 2147483646 h 154"/>
                      <a:gd name="T116" fmla="*/ 2147483646 w 216"/>
                      <a:gd name="T117" fmla="*/ 2147483646 h 154"/>
                      <a:gd name="T118" fmla="*/ 2147483646 w 216"/>
                      <a:gd name="T119" fmla="*/ 2147483646 h 154"/>
                      <a:gd name="T120" fmla="*/ 2147483646 w 216"/>
                      <a:gd name="T121" fmla="*/ 2147483646 h 154"/>
                      <a:gd name="T122" fmla="*/ 2147483646 w 216"/>
                      <a:gd name="T123" fmla="*/ 0 h 1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
                      <a:gd name="T187" fmla="*/ 0 h 154"/>
                      <a:gd name="T188" fmla="*/ 216 w 216"/>
                      <a:gd name="T189" fmla="*/ 154 h 1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 h="154">
                        <a:moveTo>
                          <a:pt x="166" y="0"/>
                        </a:moveTo>
                        <a:lnTo>
                          <a:pt x="183" y="0"/>
                        </a:lnTo>
                        <a:lnTo>
                          <a:pt x="183" y="3"/>
                        </a:lnTo>
                        <a:lnTo>
                          <a:pt x="185" y="4"/>
                        </a:lnTo>
                        <a:lnTo>
                          <a:pt x="185" y="12"/>
                        </a:lnTo>
                        <a:lnTo>
                          <a:pt x="186" y="13"/>
                        </a:lnTo>
                        <a:lnTo>
                          <a:pt x="180" y="15"/>
                        </a:lnTo>
                        <a:lnTo>
                          <a:pt x="179" y="15"/>
                        </a:lnTo>
                        <a:lnTo>
                          <a:pt x="177" y="13"/>
                        </a:lnTo>
                        <a:lnTo>
                          <a:pt x="169" y="13"/>
                        </a:lnTo>
                        <a:lnTo>
                          <a:pt x="166" y="16"/>
                        </a:lnTo>
                        <a:lnTo>
                          <a:pt x="166" y="46"/>
                        </a:lnTo>
                        <a:lnTo>
                          <a:pt x="169" y="47"/>
                        </a:lnTo>
                        <a:lnTo>
                          <a:pt x="171" y="50"/>
                        </a:lnTo>
                        <a:lnTo>
                          <a:pt x="174" y="50"/>
                        </a:lnTo>
                        <a:lnTo>
                          <a:pt x="174" y="69"/>
                        </a:lnTo>
                        <a:lnTo>
                          <a:pt x="171" y="72"/>
                        </a:lnTo>
                        <a:lnTo>
                          <a:pt x="169" y="72"/>
                        </a:lnTo>
                        <a:lnTo>
                          <a:pt x="167" y="74"/>
                        </a:lnTo>
                        <a:lnTo>
                          <a:pt x="167" y="80"/>
                        </a:lnTo>
                        <a:lnTo>
                          <a:pt x="169" y="81"/>
                        </a:lnTo>
                        <a:lnTo>
                          <a:pt x="169" y="83"/>
                        </a:lnTo>
                        <a:lnTo>
                          <a:pt x="170" y="83"/>
                        </a:lnTo>
                        <a:lnTo>
                          <a:pt x="171" y="81"/>
                        </a:lnTo>
                        <a:lnTo>
                          <a:pt x="180" y="81"/>
                        </a:lnTo>
                        <a:lnTo>
                          <a:pt x="192" y="84"/>
                        </a:lnTo>
                        <a:lnTo>
                          <a:pt x="204" y="84"/>
                        </a:lnTo>
                        <a:lnTo>
                          <a:pt x="204" y="95"/>
                        </a:lnTo>
                        <a:lnTo>
                          <a:pt x="207" y="100"/>
                        </a:lnTo>
                        <a:lnTo>
                          <a:pt x="208" y="102"/>
                        </a:lnTo>
                        <a:lnTo>
                          <a:pt x="211" y="102"/>
                        </a:lnTo>
                        <a:lnTo>
                          <a:pt x="216" y="109"/>
                        </a:lnTo>
                        <a:lnTo>
                          <a:pt x="213" y="109"/>
                        </a:lnTo>
                        <a:lnTo>
                          <a:pt x="210" y="111"/>
                        </a:lnTo>
                        <a:lnTo>
                          <a:pt x="207" y="111"/>
                        </a:lnTo>
                        <a:lnTo>
                          <a:pt x="203" y="112"/>
                        </a:lnTo>
                        <a:lnTo>
                          <a:pt x="200" y="114"/>
                        </a:lnTo>
                        <a:lnTo>
                          <a:pt x="197" y="114"/>
                        </a:lnTo>
                        <a:lnTo>
                          <a:pt x="195" y="115"/>
                        </a:lnTo>
                        <a:lnTo>
                          <a:pt x="194" y="118"/>
                        </a:lnTo>
                        <a:lnTo>
                          <a:pt x="192" y="120"/>
                        </a:lnTo>
                        <a:lnTo>
                          <a:pt x="185" y="120"/>
                        </a:lnTo>
                        <a:lnTo>
                          <a:pt x="183" y="123"/>
                        </a:lnTo>
                        <a:lnTo>
                          <a:pt x="180" y="123"/>
                        </a:lnTo>
                        <a:lnTo>
                          <a:pt x="177" y="121"/>
                        </a:lnTo>
                        <a:lnTo>
                          <a:pt x="164" y="117"/>
                        </a:lnTo>
                        <a:lnTo>
                          <a:pt x="152" y="109"/>
                        </a:lnTo>
                        <a:lnTo>
                          <a:pt x="135" y="126"/>
                        </a:lnTo>
                        <a:lnTo>
                          <a:pt x="118" y="126"/>
                        </a:lnTo>
                        <a:lnTo>
                          <a:pt x="112" y="120"/>
                        </a:lnTo>
                        <a:lnTo>
                          <a:pt x="102" y="120"/>
                        </a:lnTo>
                        <a:lnTo>
                          <a:pt x="100" y="133"/>
                        </a:lnTo>
                        <a:lnTo>
                          <a:pt x="95" y="136"/>
                        </a:lnTo>
                        <a:lnTo>
                          <a:pt x="93" y="146"/>
                        </a:lnTo>
                        <a:lnTo>
                          <a:pt x="87" y="151"/>
                        </a:lnTo>
                        <a:lnTo>
                          <a:pt x="68" y="142"/>
                        </a:lnTo>
                        <a:lnTo>
                          <a:pt x="53" y="154"/>
                        </a:lnTo>
                        <a:lnTo>
                          <a:pt x="43" y="143"/>
                        </a:lnTo>
                        <a:lnTo>
                          <a:pt x="43" y="142"/>
                        </a:lnTo>
                        <a:lnTo>
                          <a:pt x="40" y="139"/>
                        </a:lnTo>
                        <a:lnTo>
                          <a:pt x="37" y="137"/>
                        </a:lnTo>
                        <a:lnTo>
                          <a:pt x="35" y="136"/>
                        </a:lnTo>
                        <a:lnTo>
                          <a:pt x="31" y="136"/>
                        </a:lnTo>
                        <a:lnTo>
                          <a:pt x="27" y="137"/>
                        </a:lnTo>
                        <a:lnTo>
                          <a:pt x="24" y="139"/>
                        </a:lnTo>
                        <a:lnTo>
                          <a:pt x="19" y="140"/>
                        </a:lnTo>
                        <a:lnTo>
                          <a:pt x="16" y="142"/>
                        </a:lnTo>
                        <a:lnTo>
                          <a:pt x="12" y="146"/>
                        </a:lnTo>
                        <a:lnTo>
                          <a:pt x="9" y="148"/>
                        </a:lnTo>
                        <a:lnTo>
                          <a:pt x="7" y="148"/>
                        </a:lnTo>
                        <a:lnTo>
                          <a:pt x="4" y="146"/>
                        </a:lnTo>
                        <a:lnTo>
                          <a:pt x="3" y="140"/>
                        </a:lnTo>
                        <a:lnTo>
                          <a:pt x="0" y="123"/>
                        </a:lnTo>
                        <a:lnTo>
                          <a:pt x="0" y="120"/>
                        </a:lnTo>
                        <a:lnTo>
                          <a:pt x="7" y="117"/>
                        </a:lnTo>
                        <a:lnTo>
                          <a:pt x="3" y="105"/>
                        </a:lnTo>
                        <a:lnTo>
                          <a:pt x="6" y="103"/>
                        </a:lnTo>
                        <a:lnTo>
                          <a:pt x="7" y="100"/>
                        </a:lnTo>
                        <a:lnTo>
                          <a:pt x="13" y="95"/>
                        </a:lnTo>
                        <a:lnTo>
                          <a:pt x="18" y="92"/>
                        </a:lnTo>
                        <a:lnTo>
                          <a:pt x="27" y="78"/>
                        </a:lnTo>
                        <a:lnTo>
                          <a:pt x="32" y="68"/>
                        </a:lnTo>
                        <a:lnTo>
                          <a:pt x="40" y="56"/>
                        </a:lnTo>
                        <a:lnTo>
                          <a:pt x="46" y="49"/>
                        </a:lnTo>
                        <a:lnTo>
                          <a:pt x="53" y="41"/>
                        </a:lnTo>
                        <a:lnTo>
                          <a:pt x="58" y="38"/>
                        </a:lnTo>
                        <a:lnTo>
                          <a:pt x="61" y="35"/>
                        </a:lnTo>
                        <a:lnTo>
                          <a:pt x="64" y="34"/>
                        </a:lnTo>
                        <a:lnTo>
                          <a:pt x="65" y="31"/>
                        </a:lnTo>
                        <a:lnTo>
                          <a:pt x="68" y="31"/>
                        </a:lnTo>
                        <a:lnTo>
                          <a:pt x="69" y="32"/>
                        </a:lnTo>
                        <a:lnTo>
                          <a:pt x="72" y="34"/>
                        </a:lnTo>
                        <a:lnTo>
                          <a:pt x="75" y="34"/>
                        </a:lnTo>
                        <a:lnTo>
                          <a:pt x="78" y="35"/>
                        </a:lnTo>
                        <a:lnTo>
                          <a:pt x="80" y="35"/>
                        </a:lnTo>
                        <a:lnTo>
                          <a:pt x="83" y="37"/>
                        </a:lnTo>
                        <a:lnTo>
                          <a:pt x="92" y="37"/>
                        </a:lnTo>
                        <a:lnTo>
                          <a:pt x="95" y="35"/>
                        </a:lnTo>
                        <a:lnTo>
                          <a:pt x="98" y="35"/>
                        </a:lnTo>
                        <a:lnTo>
                          <a:pt x="100" y="34"/>
                        </a:lnTo>
                        <a:lnTo>
                          <a:pt x="102" y="31"/>
                        </a:lnTo>
                        <a:lnTo>
                          <a:pt x="106" y="27"/>
                        </a:lnTo>
                        <a:lnTo>
                          <a:pt x="108" y="24"/>
                        </a:lnTo>
                        <a:lnTo>
                          <a:pt x="118" y="24"/>
                        </a:lnTo>
                        <a:lnTo>
                          <a:pt x="120" y="22"/>
                        </a:lnTo>
                        <a:lnTo>
                          <a:pt x="121" y="19"/>
                        </a:lnTo>
                        <a:lnTo>
                          <a:pt x="121" y="18"/>
                        </a:lnTo>
                        <a:lnTo>
                          <a:pt x="123" y="18"/>
                        </a:lnTo>
                        <a:lnTo>
                          <a:pt x="129" y="15"/>
                        </a:lnTo>
                        <a:lnTo>
                          <a:pt x="130" y="15"/>
                        </a:lnTo>
                        <a:lnTo>
                          <a:pt x="132" y="13"/>
                        </a:lnTo>
                        <a:lnTo>
                          <a:pt x="132" y="7"/>
                        </a:lnTo>
                        <a:lnTo>
                          <a:pt x="133" y="6"/>
                        </a:lnTo>
                        <a:lnTo>
                          <a:pt x="133" y="4"/>
                        </a:lnTo>
                        <a:lnTo>
                          <a:pt x="137" y="4"/>
                        </a:lnTo>
                        <a:lnTo>
                          <a:pt x="145" y="6"/>
                        </a:lnTo>
                        <a:lnTo>
                          <a:pt x="154" y="9"/>
                        </a:lnTo>
                        <a:lnTo>
                          <a:pt x="158" y="9"/>
                        </a:lnTo>
                        <a:lnTo>
                          <a:pt x="158" y="7"/>
                        </a:lnTo>
                        <a:lnTo>
                          <a:pt x="160" y="6"/>
                        </a:lnTo>
                        <a:lnTo>
                          <a:pt x="160" y="3"/>
                        </a:lnTo>
                        <a:lnTo>
                          <a:pt x="161" y="1"/>
                        </a:lnTo>
                        <a:lnTo>
                          <a:pt x="163" y="1"/>
                        </a:lnTo>
                        <a:lnTo>
                          <a:pt x="166"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2" name="Freeform 281" descr="© INSCALE GmbH, 21.06.2010"/>
                  <p:cNvSpPr>
                    <a:spLocks noChangeAspect="1"/>
                  </p:cNvSpPr>
                  <p:nvPr/>
                </p:nvSpPr>
                <p:spPr bwMode="auto">
                  <a:xfrm>
                    <a:off x="2850516" y="3626833"/>
                    <a:ext cx="212238" cy="328507"/>
                  </a:xfrm>
                  <a:custGeom>
                    <a:avLst/>
                    <a:gdLst>
                      <a:gd name="T0" fmla="*/ 2147483646 w 222"/>
                      <a:gd name="T1" fmla="*/ 2147483646 h 342"/>
                      <a:gd name="T2" fmla="*/ 2147483646 w 222"/>
                      <a:gd name="T3" fmla="*/ 2147483646 h 342"/>
                      <a:gd name="T4" fmla="*/ 2147483646 w 222"/>
                      <a:gd name="T5" fmla="*/ 2147483646 h 342"/>
                      <a:gd name="T6" fmla="*/ 2147483646 w 222"/>
                      <a:gd name="T7" fmla="*/ 2147483646 h 342"/>
                      <a:gd name="T8" fmla="*/ 2147483646 w 222"/>
                      <a:gd name="T9" fmla="*/ 2147483646 h 342"/>
                      <a:gd name="T10" fmla="*/ 2147483646 w 222"/>
                      <a:gd name="T11" fmla="*/ 2147483646 h 342"/>
                      <a:gd name="T12" fmla="*/ 2147483646 w 222"/>
                      <a:gd name="T13" fmla="*/ 2147483646 h 342"/>
                      <a:gd name="T14" fmla="*/ 2147483646 w 222"/>
                      <a:gd name="T15" fmla="*/ 2147483646 h 342"/>
                      <a:gd name="T16" fmla="*/ 2147483646 w 222"/>
                      <a:gd name="T17" fmla="*/ 2147483646 h 342"/>
                      <a:gd name="T18" fmla="*/ 2147483646 w 222"/>
                      <a:gd name="T19" fmla="*/ 2147483646 h 342"/>
                      <a:gd name="T20" fmla="*/ 2147483646 w 222"/>
                      <a:gd name="T21" fmla="*/ 2147483646 h 342"/>
                      <a:gd name="T22" fmla="*/ 2147483646 w 222"/>
                      <a:gd name="T23" fmla="*/ 2147483646 h 342"/>
                      <a:gd name="T24" fmla="*/ 2147483646 w 222"/>
                      <a:gd name="T25" fmla="*/ 2147483646 h 342"/>
                      <a:gd name="T26" fmla="*/ 2147483646 w 222"/>
                      <a:gd name="T27" fmla="*/ 2147483646 h 342"/>
                      <a:gd name="T28" fmla="*/ 2147483646 w 222"/>
                      <a:gd name="T29" fmla="*/ 2147483646 h 342"/>
                      <a:gd name="T30" fmla="*/ 2147483646 w 222"/>
                      <a:gd name="T31" fmla="*/ 2147483646 h 342"/>
                      <a:gd name="T32" fmla="*/ 2147483646 w 222"/>
                      <a:gd name="T33" fmla="*/ 2147483646 h 342"/>
                      <a:gd name="T34" fmla="*/ 2147483646 w 222"/>
                      <a:gd name="T35" fmla="*/ 2147483646 h 342"/>
                      <a:gd name="T36" fmla="*/ 2147483646 w 222"/>
                      <a:gd name="T37" fmla="*/ 2147483646 h 342"/>
                      <a:gd name="T38" fmla="*/ 2147483646 w 222"/>
                      <a:gd name="T39" fmla="*/ 2147483646 h 342"/>
                      <a:gd name="T40" fmla="*/ 2147483646 w 222"/>
                      <a:gd name="T41" fmla="*/ 2147483646 h 342"/>
                      <a:gd name="T42" fmla="*/ 2147483646 w 222"/>
                      <a:gd name="T43" fmla="*/ 2147483646 h 342"/>
                      <a:gd name="T44" fmla="*/ 2147483646 w 222"/>
                      <a:gd name="T45" fmla="*/ 2147483646 h 342"/>
                      <a:gd name="T46" fmla="*/ 2147483646 w 222"/>
                      <a:gd name="T47" fmla="*/ 2147483646 h 342"/>
                      <a:gd name="T48" fmla="*/ 2147483646 w 222"/>
                      <a:gd name="T49" fmla="*/ 2147483646 h 342"/>
                      <a:gd name="T50" fmla="*/ 2147483646 w 222"/>
                      <a:gd name="T51" fmla="*/ 2147483646 h 342"/>
                      <a:gd name="T52" fmla="*/ 2147483646 w 222"/>
                      <a:gd name="T53" fmla="*/ 2147483646 h 342"/>
                      <a:gd name="T54" fmla="*/ 2147483646 w 222"/>
                      <a:gd name="T55" fmla="*/ 2147483646 h 342"/>
                      <a:gd name="T56" fmla="*/ 2147483646 w 222"/>
                      <a:gd name="T57" fmla="*/ 2147483646 h 342"/>
                      <a:gd name="T58" fmla="*/ 2147483646 w 222"/>
                      <a:gd name="T59" fmla="*/ 2147483646 h 342"/>
                      <a:gd name="T60" fmla="*/ 2147483646 w 222"/>
                      <a:gd name="T61" fmla="*/ 2147483646 h 342"/>
                      <a:gd name="T62" fmla="*/ 2147483646 w 222"/>
                      <a:gd name="T63" fmla="*/ 2147483646 h 342"/>
                      <a:gd name="T64" fmla="*/ 2147483646 w 222"/>
                      <a:gd name="T65" fmla="*/ 2147483646 h 342"/>
                      <a:gd name="T66" fmla="*/ 2147483646 w 222"/>
                      <a:gd name="T67" fmla="*/ 2147483646 h 342"/>
                      <a:gd name="T68" fmla="*/ 2147483646 w 222"/>
                      <a:gd name="T69" fmla="*/ 2147483646 h 342"/>
                      <a:gd name="T70" fmla="*/ 2147483646 w 222"/>
                      <a:gd name="T71" fmla="*/ 2147483646 h 342"/>
                      <a:gd name="T72" fmla="*/ 2147483646 w 222"/>
                      <a:gd name="T73" fmla="*/ 2147483646 h 342"/>
                      <a:gd name="T74" fmla="*/ 2147483646 w 222"/>
                      <a:gd name="T75" fmla="*/ 2147483646 h 342"/>
                      <a:gd name="T76" fmla="*/ 2147483646 w 222"/>
                      <a:gd name="T77" fmla="*/ 2147483646 h 342"/>
                      <a:gd name="T78" fmla="*/ 2147483646 w 222"/>
                      <a:gd name="T79" fmla="*/ 2147483646 h 342"/>
                      <a:gd name="T80" fmla="*/ 2147483646 w 222"/>
                      <a:gd name="T81" fmla="*/ 2147483646 h 342"/>
                      <a:gd name="T82" fmla="*/ 2147483646 w 222"/>
                      <a:gd name="T83" fmla="*/ 2147483646 h 342"/>
                      <a:gd name="T84" fmla="*/ 2147483646 w 222"/>
                      <a:gd name="T85" fmla="*/ 2147483646 h 342"/>
                      <a:gd name="T86" fmla="*/ 2147483646 w 222"/>
                      <a:gd name="T87" fmla="*/ 2147483646 h 342"/>
                      <a:gd name="T88" fmla="*/ 2147483646 w 222"/>
                      <a:gd name="T89" fmla="*/ 2147483646 h 342"/>
                      <a:gd name="T90" fmla="*/ 2147483646 w 222"/>
                      <a:gd name="T91" fmla="*/ 2147483646 h 342"/>
                      <a:gd name="T92" fmla="*/ 2147483646 w 222"/>
                      <a:gd name="T93" fmla="*/ 2147483646 h 342"/>
                      <a:gd name="T94" fmla="*/ 2147483646 w 222"/>
                      <a:gd name="T95" fmla="*/ 2147483646 h 342"/>
                      <a:gd name="T96" fmla="*/ 2147483646 w 222"/>
                      <a:gd name="T97" fmla="*/ 2147483646 h 342"/>
                      <a:gd name="T98" fmla="*/ 2147483646 w 222"/>
                      <a:gd name="T99" fmla="*/ 2147483646 h 342"/>
                      <a:gd name="T100" fmla="*/ 2147483646 w 222"/>
                      <a:gd name="T101" fmla="*/ 2147483646 h 342"/>
                      <a:gd name="T102" fmla="*/ 2147483646 w 222"/>
                      <a:gd name="T103" fmla="*/ 2147483646 h 342"/>
                      <a:gd name="T104" fmla="*/ 2147483646 w 222"/>
                      <a:gd name="T105" fmla="*/ 2147483646 h 342"/>
                      <a:gd name="T106" fmla="*/ 2147483646 w 222"/>
                      <a:gd name="T107" fmla="*/ 2147483646 h 342"/>
                      <a:gd name="T108" fmla="*/ 2147483646 w 222"/>
                      <a:gd name="T109" fmla="*/ 2147483646 h 342"/>
                      <a:gd name="T110" fmla="*/ 2147483646 w 222"/>
                      <a:gd name="T111" fmla="*/ 2147483646 h 34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2"/>
                      <a:gd name="T169" fmla="*/ 0 h 342"/>
                      <a:gd name="T170" fmla="*/ 222 w 222"/>
                      <a:gd name="T171" fmla="*/ 342 h 34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2" h="342">
                        <a:moveTo>
                          <a:pt x="81" y="0"/>
                        </a:moveTo>
                        <a:lnTo>
                          <a:pt x="86" y="0"/>
                        </a:lnTo>
                        <a:lnTo>
                          <a:pt x="90" y="5"/>
                        </a:lnTo>
                        <a:lnTo>
                          <a:pt x="93" y="6"/>
                        </a:lnTo>
                        <a:lnTo>
                          <a:pt x="94" y="8"/>
                        </a:lnTo>
                        <a:lnTo>
                          <a:pt x="94" y="15"/>
                        </a:lnTo>
                        <a:lnTo>
                          <a:pt x="100" y="21"/>
                        </a:lnTo>
                        <a:lnTo>
                          <a:pt x="103" y="22"/>
                        </a:lnTo>
                        <a:lnTo>
                          <a:pt x="108" y="24"/>
                        </a:lnTo>
                        <a:lnTo>
                          <a:pt x="114" y="25"/>
                        </a:lnTo>
                        <a:lnTo>
                          <a:pt x="118" y="24"/>
                        </a:lnTo>
                        <a:lnTo>
                          <a:pt x="121" y="24"/>
                        </a:lnTo>
                        <a:lnTo>
                          <a:pt x="126" y="22"/>
                        </a:lnTo>
                        <a:lnTo>
                          <a:pt x="128" y="22"/>
                        </a:lnTo>
                        <a:lnTo>
                          <a:pt x="131" y="25"/>
                        </a:lnTo>
                        <a:lnTo>
                          <a:pt x="134" y="27"/>
                        </a:lnTo>
                        <a:lnTo>
                          <a:pt x="136" y="28"/>
                        </a:lnTo>
                        <a:lnTo>
                          <a:pt x="137" y="31"/>
                        </a:lnTo>
                        <a:lnTo>
                          <a:pt x="139" y="36"/>
                        </a:lnTo>
                        <a:lnTo>
                          <a:pt x="139" y="39"/>
                        </a:lnTo>
                        <a:lnTo>
                          <a:pt x="142" y="39"/>
                        </a:lnTo>
                        <a:lnTo>
                          <a:pt x="145" y="37"/>
                        </a:lnTo>
                        <a:lnTo>
                          <a:pt x="152" y="37"/>
                        </a:lnTo>
                        <a:lnTo>
                          <a:pt x="154" y="39"/>
                        </a:lnTo>
                        <a:lnTo>
                          <a:pt x="155" y="42"/>
                        </a:lnTo>
                        <a:lnTo>
                          <a:pt x="158" y="43"/>
                        </a:lnTo>
                        <a:lnTo>
                          <a:pt x="160" y="46"/>
                        </a:lnTo>
                        <a:lnTo>
                          <a:pt x="163" y="48"/>
                        </a:lnTo>
                        <a:lnTo>
                          <a:pt x="176" y="54"/>
                        </a:lnTo>
                        <a:lnTo>
                          <a:pt x="176" y="55"/>
                        </a:lnTo>
                        <a:lnTo>
                          <a:pt x="177" y="56"/>
                        </a:lnTo>
                        <a:lnTo>
                          <a:pt x="179" y="59"/>
                        </a:lnTo>
                        <a:lnTo>
                          <a:pt x="185" y="65"/>
                        </a:lnTo>
                        <a:lnTo>
                          <a:pt x="189" y="67"/>
                        </a:lnTo>
                        <a:lnTo>
                          <a:pt x="198" y="67"/>
                        </a:lnTo>
                        <a:lnTo>
                          <a:pt x="207" y="62"/>
                        </a:lnTo>
                        <a:lnTo>
                          <a:pt x="207" y="64"/>
                        </a:lnTo>
                        <a:lnTo>
                          <a:pt x="208" y="65"/>
                        </a:lnTo>
                        <a:lnTo>
                          <a:pt x="211" y="71"/>
                        </a:lnTo>
                        <a:lnTo>
                          <a:pt x="211" y="73"/>
                        </a:lnTo>
                        <a:lnTo>
                          <a:pt x="213" y="74"/>
                        </a:lnTo>
                        <a:lnTo>
                          <a:pt x="216" y="80"/>
                        </a:lnTo>
                        <a:lnTo>
                          <a:pt x="217" y="85"/>
                        </a:lnTo>
                        <a:lnTo>
                          <a:pt x="220" y="90"/>
                        </a:lnTo>
                        <a:lnTo>
                          <a:pt x="222" y="92"/>
                        </a:lnTo>
                        <a:lnTo>
                          <a:pt x="222" y="93"/>
                        </a:lnTo>
                        <a:lnTo>
                          <a:pt x="220" y="93"/>
                        </a:lnTo>
                        <a:lnTo>
                          <a:pt x="219" y="95"/>
                        </a:lnTo>
                        <a:lnTo>
                          <a:pt x="216" y="95"/>
                        </a:lnTo>
                        <a:lnTo>
                          <a:pt x="213" y="96"/>
                        </a:lnTo>
                        <a:lnTo>
                          <a:pt x="211" y="96"/>
                        </a:lnTo>
                        <a:lnTo>
                          <a:pt x="208" y="98"/>
                        </a:lnTo>
                        <a:lnTo>
                          <a:pt x="205" y="98"/>
                        </a:lnTo>
                        <a:lnTo>
                          <a:pt x="204" y="99"/>
                        </a:lnTo>
                        <a:lnTo>
                          <a:pt x="204" y="110"/>
                        </a:lnTo>
                        <a:lnTo>
                          <a:pt x="205" y="113"/>
                        </a:lnTo>
                        <a:lnTo>
                          <a:pt x="205" y="119"/>
                        </a:lnTo>
                        <a:lnTo>
                          <a:pt x="202" y="122"/>
                        </a:lnTo>
                        <a:lnTo>
                          <a:pt x="201" y="122"/>
                        </a:lnTo>
                        <a:lnTo>
                          <a:pt x="199" y="125"/>
                        </a:lnTo>
                        <a:lnTo>
                          <a:pt x="197" y="126"/>
                        </a:lnTo>
                        <a:lnTo>
                          <a:pt x="195" y="127"/>
                        </a:lnTo>
                        <a:lnTo>
                          <a:pt x="194" y="130"/>
                        </a:lnTo>
                        <a:lnTo>
                          <a:pt x="191" y="129"/>
                        </a:lnTo>
                        <a:lnTo>
                          <a:pt x="189" y="127"/>
                        </a:lnTo>
                        <a:lnTo>
                          <a:pt x="185" y="126"/>
                        </a:lnTo>
                        <a:lnTo>
                          <a:pt x="182" y="125"/>
                        </a:lnTo>
                        <a:lnTo>
                          <a:pt x="179" y="125"/>
                        </a:lnTo>
                        <a:lnTo>
                          <a:pt x="176" y="123"/>
                        </a:lnTo>
                        <a:lnTo>
                          <a:pt x="173" y="120"/>
                        </a:lnTo>
                        <a:lnTo>
                          <a:pt x="179" y="108"/>
                        </a:lnTo>
                        <a:lnTo>
                          <a:pt x="179" y="101"/>
                        </a:lnTo>
                        <a:lnTo>
                          <a:pt x="176" y="98"/>
                        </a:lnTo>
                        <a:lnTo>
                          <a:pt x="173" y="98"/>
                        </a:lnTo>
                        <a:lnTo>
                          <a:pt x="173" y="107"/>
                        </a:lnTo>
                        <a:lnTo>
                          <a:pt x="151" y="132"/>
                        </a:lnTo>
                        <a:lnTo>
                          <a:pt x="160" y="138"/>
                        </a:lnTo>
                        <a:lnTo>
                          <a:pt x="160" y="147"/>
                        </a:lnTo>
                        <a:lnTo>
                          <a:pt x="155" y="151"/>
                        </a:lnTo>
                        <a:lnTo>
                          <a:pt x="154" y="154"/>
                        </a:lnTo>
                        <a:lnTo>
                          <a:pt x="152" y="156"/>
                        </a:lnTo>
                        <a:lnTo>
                          <a:pt x="151" y="159"/>
                        </a:lnTo>
                        <a:lnTo>
                          <a:pt x="151" y="163"/>
                        </a:lnTo>
                        <a:lnTo>
                          <a:pt x="149" y="164"/>
                        </a:lnTo>
                        <a:lnTo>
                          <a:pt x="145" y="166"/>
                        </a:lnTo>
                        <a:lnTo>
                          <a:pt x="142" y="167"/>
                        </a:lnTo>
                        <a:lnTo>
                          <a:pt x="136" y="167"/>
                        </a:lnTo>
                        <a:lnTo>
                          <a:pt x="133" y="166"/>
                        </a:lnTo>
                        <a:lnTo>
                          <a:pt x="131" y="164"/>
                        </a:lnTo>
                        <a:lnTo>
                          <a:pt x="130" y="164"/>
                        </a:lnTo>
                        <a:lnTo>
                          <a:pt x="130" y="166"/>
                        </a:lnTo>
                        <a:lnTo>
                          <a:pt x="128" y="169"/>
                        </a:lnTo>
                        <a:lnTo>
                          <a:pt x="128" y="172"/>
                        </a:lnTo>
                        <a:lnTo>
                          <a:pt x="130" y="175"/>
                        </a:lnTo>
                        <a:lnTo>
                          <a:pt x="130" y="178"/>
                        </a:lnTo>
                        <a:lnTo>
                          <a:pt x="139" y="182"/>
                        </a:lnTo>
                        <a:lnTo>
                          <a:pt x="142" y="185"/>
                        </a:lnTo>
                        <a:lnTo>
                          <a:pt x="142" y="187"/>
                        </a:lnTo>
                        <a:lnTo>
                          <a:pt x="140" y="188"/>
                        </a:lnTo>
                        <a:lnTo>
                          <a:pt x="140" y="191"/>
                        </a:lnTo>
                        <a:lnTo>
                          <a:pt x="142" y="193"/>
                        </a:lnTo>
                        <a:lnTo>
                          <a:pt x="143" y="193"/>
                        </a:lnTo>
                        <a:lnTo>
                          <a:pt x="146" y="190"/>
                        </a:lnTo>
                        <a:lnTo>
                          <a:pt x="149" y="190"/>
                        </a:lnTo>
                        <a:lnTo>
                          <a:pt x="157" y="197"/>
                        </a:lnTo>
                        <a:lnTo>
                          <a:pt x="158" y="201"/>
                        </a:lnTo>
                        <a:lnTo>
                          <a:pt x="158" y="209"/>
                        </a:lnTo>
                        <a:lnTo>
                          <a:pt x="157" y="210"/>
                        </a:lnTo>
                        <a:lnTo>
                          <a:pt x="160" y="212"/>
                        </a:lnTo>
                        <a:lnTo>
                          <a:pt x="161" y="215"/>
                        </a:lnTo>
                        <a:lnTo>
                          <a:pt x="164" y="216"/>
                        </a:lnTo>
                        <a:lnTo>
                          <a:pt x="167" y="216"/>
                        </a:lnTo>
                        <a:lnTo>
                          <a:pt x="170" y="215"/>
                        </a:lnTo>
                        <a:lnTo>
                          <a:pt x="174" y="210"/>
                        </a:lnTo>
                        <a:lnTo>
                          <a:pt x="180" y="210"/>
                        </a:lnTo>
                        <a:lnTo>
                          <a:pt x="183" y="212"/>
                        </a:lnTo>
                        <a:lnTo>
                          <a:pt x="191" y="215"/>
                        </a:lnTo>
                        <a:lnTo>
                          <a:pt x="204" y="215"/>
                        </a:lnTo>
                        <a:lnTo>
                          <a:pt x="194" y="225"/>
                        </a:lnTo>
                        <a:lnTo>
                          <a:pt x="194" y="227"/>
                        </a:lnTo>
                        <a:lnTo>
                          <a:pt x="195" y="228"/>
                        </a:lnTo>
                        <a:lnTo>
                          <a:pt x="198" y="234"/>
                        </a:lnTo>
                        <a:lnTo>
                          <a:pt x="198" y="240"/>
                        </a:lnTo>
                        <a:lnTo>
                          <a:pt x="195" y="243"/>
                        </a:lnTo>
                        <a:lnTo>
                          <a:pt x="192" y="243"/>
                        </a:lnTo>
                        <a:lnTo>
                          <a:pt x="189" y="241"/>
                        </a:lnTo>
                        <a:lnTo>
                          <a:pt x="188" y="240"/>
                        </a:lnTo>
                        <a:lnTo>
                          <a:pt x="185" y="238"/>
                        </a:lnTo>
                        <a:lnTo>
                          <a:pt x="185" y="241"/>
                        </a:lnTo>
                        <a:lnTo>
                          <a:pt x="186" y="246"/>
                        </a:lnTo>
                        <a:lnTo>
                          <a:pt x="186" y="249"/>
                        </a:lnTo>
                        <a:lnTo>
                          <a:pt x="192" y="258"/>
                        </a:lnTo>
                        <a:lnTo>
                          <a:pt x="194" y="261"/>
                        </a:lnTo>
                        <a:lnTo>
                          <a:pt x="194" y="264"/>
                        </a:lnTo>
                        <a:lnTo>
                          <a:pt x="195" y="265"/>
                        </a:lnTo>
                        <a:lnTo>
                          <a:pt x="195" y="266"/>
                        </a:lnTo>
                        <a:lnTo>
                          <a:pt x="204" y="275"/>
                        </a:lnTo>
                        <a:lnTo>
                          <a:pt x="204" y="290"/>
                        </a:lnTo>
                        <a:lnTo>
                          <a:pt x="211" y="298"/>
                        </a:lnTo>
                        <a:lnTo>
                          <a:pt x="211" y="305"/>
                        </a:lnTo>
                        <a:lnTo>
                          <a:pt x="194" y="305"/>
                        </a:lnTo>
                        <a:lnTo>
                          <a:pt x="191" y="306"/>
                        </a:lnTo>
                        <a:lnTo>
                          <a:pt x="189" y="306"/>
                        </a:lnTo>
                        <a:lnTo>
                          <a:pt x="188" y="308"/>
                        </a:lnTo>
                        <a:lnTo>
                          <a:pt x="188" y="311"/>
                        </a:lnTo>
                        <a:lnTo>
                          <a:pt x="186" y="312"/>
                        </a:lnTo>
                        <a:lnTo>
                          <a:pt x="186" y="314"/>
                        </a:lnTo>
                        <a:lnTo>
                          <a:pt x="182" y="314"/>
                        </a:lnTo>
                        <a:lnTo>
                          <a:pt x="173" y="311"/>
                        </a:lnTo>
                        <a:lnTo>
                          <a:pt x="165" y="309"/>
                        </a:lnTo>
                        <a:lnTo>
                          <a:pt x="161" y="309"/>
                        </a:lnTo>
                        <a:lnTo>
                          <a:pt x="161" y="311"/>
                        </a:lnTo>
                        <a:lnTo>
                          <a:pt x="160" y="312"/>
                        </a:lnTo>
                        <a:lnTo>
                          <a:pt x="160" y="318"/>
                        </a:lnTo>
                        <a:lnTo>
                          <a:pt x="158" y="320"/>
                        </a:lnTo>
                        <a:lnTo>
                          <a:pt x="157" y="320"/>
                        </a:lnTo>
                        <a:lnTo>
                          <a:pt x="151" y="323"/>
                        </a:lnTo>
                        <a:lnTo>
                          <a:pt x="149" y="323"/>
                        </a:lnTo>
                        <a:lnTo>
                          <a:pt x="149" y="324"/>
                        </a:lnTo>
                        <a:lnTo>
                          <a:pt x="148" y="327"/>
                        </a:lnTo>
                        <a:lnTo>
                          <a:pt x="146" y="329"/>
                        </a:lnTo>
                        <a:lnTo>
                          <a:pt x="136" y="329"/>
                        </a:lnTo>
                        <a:lnTo>
                          <a:pt x="134" y="332"/>
                        </a:lnTo>
                        <a:lnTo>
                          <a:pt x="130" y="336"/>
                        </a:lnTo>
                        <a:lnTo>
                          <a:pt x="128" y="339"/>
                        </a:lnTo>
                        <a:lnTo>
                          <a:pt x="126" y="340"/>
                        </a:lnTo>
                        <a:lnTo>
                          <a:pt x="123" y="340"/>
                        </a:lnTo>
                        <a:lnTo>
                          <a:pt x="120" y="342"/>
                        </a:lnTo>
                        <a:lnTo>
                          <a:pt x="111" y="342"/>
                        </a:lnTo>
                        <a:lnTo>
                          <a:pt x="108" y="340"/>
                        </a:lnTo>
                        <a:lnTo>
                          <a:pt x="106" y="340"/>
                        </a:lnTo>
                        <a:lnTo>
                          <a:pt x="103" y="339"/>
                        </a:lnTo>
                        <a:lnTo>
                          <a:pt x="100" y="339"/>
                        </a:lnTo>
                        <a:lnTo>
                          <a:pt x="97" y="337"/>
                        </a:lnTo>
                        <a:lnTo>
                          <a:pt x="96" y="336"/>
                        </a:lnTo>
                        <a:lnTo>
                          <a:pt x="94" y="336"/>
                        </a:lnTo>
                        <a:lnTo>
                          <a:pt x="93" y="333"/>
                        </a:lnTo>
                        <a:lnTo>
                          <a:pt x="93" y="332"/>
                        </a:lnTo>
                        <a:lnTo>
                          <a:pt x="92" y="329"/>
                        </a:lnTo>
                        <a:lnTo>
                          <a:pt x="92" y="326"/>
                        </a:lnTo>
                        <a:lnTo>
                          <a:pt x="90" y="323"/>
                        </a:lnTo>
                        <a:lnTo>
                          <a:pt x="92" y="321"/>
                        </a:lnTo>
                        <a:lnTo>
                          <a:pt x="93" y="318"/>
                        </a:lnTo>
                        <a:lnTo>
                          <a:pt x="94" y="317"/>
                        </a:lnTo>
                        <a:lnTo>
                          <a:pt x="94" y="314"/>
                        </a:lnTo>
                        <a:lnTo>
                          <a:pt x="93" y="314"/>
                        </a:lnTo>
                        <a:lnTo>
                          <a:pt x="92" y="312"/>
                        </a:lnTo>
                        <a:lnTo>
                          <a:pt x="92" y="302"/>
                        </a:lnTo>
                        <a:lnTo>
                          <a:pt x="93" y="289"/>
                        </a:lnTo>
                        <a:lnTo>
                          <a:pt x="96" y="274"/>
                        </a:lnTo>
                        <a:lnTo>
                          <a:pt x="96" y="262"/>
                        </a:lnTo>
                        <a:lnTo>
                          <a:pt x="94" y="255"/>
                        </a:lnTo>
                        <a:lnTo>
                          <a:pt x="94" y="250"/>
                        </a:lnTo>
                        <a:lnTo>
                          <a:pt x="93" y="246"/>
                        </a:lnTo>
                        <a:lnTo>
                          <a:pt x="93" y="241"/>
                        </a:lnTo>
                        <a:lnTo>
                          <a:pt x="90" y="238"/>
                        </a:lnTo>
                        <a:lnTo>
                          <a:pt x="89" y="235"/>
                        </a:lnTo>
                        <a:lnTo>
                          <a:pt x="83" y="229"/>
                        </a:lnTo>
                        <a:lnTo>
                          <a:pt x="81" y="225"/>
                        </a:lnTo>
                        <a:lnTo>
                          <a:pt x="78" y="219"/>
                        </a:lnTo>
                        <a:lnTo>
                          <a:pt x="75" y="216"/>
                        </a:lnTo>
                        <a:lnTo>
                          <a:pt x="74" y="212"/>
                        </a:lnTo>
                        <a:lnTo>
                          <a:pt x="71" y="209"/>
                        </a:lnTo>
                        <a:lnTo>
                          <a:pt x="68" y="204"/>
                        </a:lnTo>
                        <a:lnTo>
                          <a:pt x="65" y="203"/>
                        </a:lnTo>
                        <a:lnTo>
                          <a:pt x="63" y="200"/>
                        </a:lnTo>
                        <a:lnTo>
                          <a:pt x="63" y="198"/>
                        </a:lnTo>
                        <a:lnTo>
                          <a:pt x="59" y="194"/>
                        </a:lnTo>
                        <a:lnTo>
                          <a:pt x="57" y="191"/>
                        </a:lnTo>
                        <a:lnTo>
                          <a:pt x="55" y="188"/>
                        </a:lnTo>
                        <a:lnTo>
                          <a:pt x="52" y="184"/>
                        </a:lnTo>
                        <a:lnTo>
                          <a:pt x="52" y="175"/>
                        </a:lnTo>
                        <a:lnTo>
                          <a:pt x="53" y="170"/>
                        </a:lnTo>
                        <a:lnTo>
                          <a:pt x="55" y="167"/>
                        </a:lnTo>
                        <a:lnTo>
                          <a:pt x="56" y="163"/>
                        </a:lnTo>
                        <a:lnTo>
                          <a:pt x="59" y="160"/>
                        </a:lnTo>
                        <a:lnTo>
                          <a:pt x="60" y="157"/>
                        </a:lnTo>
                        <a:lnTo>
                          <a:pt x="62" y="156"/>
                        </a:lnTo>
                        <a:lnTo>
                          <a:pt x="62" y="154"/>
                        </a:lnTo>
                        <a:lnTo>
                          <a:pt x="59" y="153"/>
                        </a:lnTo>
                        <a:lnTo>
                          <a:pt x="52" y="150"/>
                        </a:lnTo>
                        <a:lnTo>
                          <a:pt x="34" y="141"/>
                        </a:lnTo>
                        <a:lnTo>
                          <a:pt x="29" y="138"/>
                        </a:lnTo>
                        <a:lnTo>
                          <a:pt x="28" y="135"/>
                        </a:lnTo>
                        <a:lnTo>
                          <a:pt x="28" y="130"/>
                        </a:lnTo>
                        <a:lnTo>
                          <a:pt x="31" y="127"/>
                        </a:lnTo>
                        <a:lnTo>
                          <a:pt x="29" y="126"/>
                        </a:lnTo>
                        <a:lnTo>
                          <a:pt x="29" y="123"/>
                        </a:lnTo>
                        <a:lnTo>
                          <a:pt x="28" y="122"/>
                        </a:lnTo>
                        <a:lnTo>
                          <a:pt x="31" y="116"/>
                        </a:lnTo>
                        <a:lnTo>
                          <a:pt x="32" y="114"/>
                        </a:lnTo>
                        <a:lnTo>
                          <a:pt x="32" y="113"/>
                        </a:lnTo>
                        <a:lnTo>
                          <a:pt x="18" y="99"/>
                        </a:lnTo>
                        <a:lnTo>
                          <a:pt x="12" y="99"/>
                        </a:lnTo>
                        <a:lnTo>
                          <a:pt x="9" y="98"/>
                        </a:lnTo>
                        <a:lnTo>
                          <a:pt x="6" y="98"/>
                        </a:lnTo>
                        <a:lnTo>
                          <a:pt x="3" y="95"/>
                        </a:lnTo>
                        <a:lnTo>
                          <a:pt x="3" y="93"/>
                        </a:lnTo>
                        <a:lnTo>
                          <a:pt x="6" y="90"/>
                        </a:lnTo>
                        <a:lnTo>
                          <a:pt x="7" y="88"/>
                        </a:lnTo>
                        <a:lnTo>
                          <a:pt x="10" y="86"/>
                        </a:lnTo>
                        <a:lnTo>
                          <a:pt x="12" y="83"/>
                        </a:lnTo>
                        <a:lnTo>
                          <a:pt x="15" y="82"/>
                        </a:lnTo>
                        <a:lnTo>
                          <a:pt x="15" y="67"/>
                        </a:lnTo>
                        <a:lnTo>
                          <a:pt x="13" y="64"/>
                        </a:lnTo>
                        <a:lnTo>
                          <a:pt x="6" y="56"/>
                        </a:lnTo>
                        <a:lnTo>
                          <a:pt x="4" y="54"/>
                        </a:lnTo>
                        <a:lnTo>
                          <a:pt x="0" y="49"/>
                        </a:lnTo>
                        <a:lnTo>
                          <a:pt x="0" y="48"/>
                        </a:lnTo>
                        <a:lnTo>
                          <a:pt x="1" y="46"/>
                        </a:lnTo>
                        <a:lnTo>
                          <a:pt x="3" y="43"/>
                        </a:lnTo>
                        <a:lnTo>
                          <a:pt x="4" y="42"/>
                        </a:lnTo>
                        <a:lnTo>
                          <a:pt x="9" y="42"/>
                        </a:lnTo>
                        <a:lnTo>
                          <a:pt x="13" y="46"/>
                        </a:lnTo>
                        <a:lnTo>
                          <a:pt x="15" y="46"/>
                        </a:lnTo>
                        <a:lnTo>
                          <a:pt x="19" y="45"/>
                        </a:lnTo>
                        <a:lnTo>
                          <a:pt x="28" y="39"/>
                        </a:lnTo>
                        <a:lnTo>
                          <a:pt x="37" y="34"/>
                        </a:lnTo>
                        <a:lnTo>
                          <a:pt x="44" y="28"/>
                        </a:lnTo>
                        <a:lnTo>
                          <a:pt x="47" y="27"/>
                        </a:lnTo>
                        <a:lnTo>
                          <a:pt x="49" y="28"/>
                        </a:lnTo>
                        <a:lnTo>
                          <a:pt x="52" y="30"/>
                        </a:lnTo>
                        <a:lnTo>
                          <a:pt x="56" y="34"/>
                        </a:lnTo>
                        <a:lnTo>
                          <a:pt x="59" y="36"/>
                        </a:lnTo>
                        <a:lnTo>
                          <a:pt x="72" y="36"/>
                        </a:lnTo>
                        <a:lnTo>
                          <a:pt x="77" y="37"/>
                        </a:lnTo>
                        <a:lnTo>
                          <a:pt x="80" y="39"/>
                        </a:lnTo>
                        <a:lnTo>
                          <a:pt x="81" y="40"/>
                        </a:lnTo>
                        <a:lnTo>
                          <a:pt x="83" y="40"/>
                        </a:lnTo>
                        <a:lnTo>
                          <a:pt x="84" y="42"/>
                        </a:lnTo>
                        <a:lnTo>
                          <a:pt x="84" y="34"/>
                        </a:lnTo>
                        <a:lnTo>
                          <a:pt x="86" y="31"/>
                        </a:lnTo>
                        <a:lnTo>
                          <a:pt x="86" y="27"/>
                        </a:lnTo>
                        <a:lnTo>
                          <a:pt x="83" y="25"/>
                        </a:lnTo>
                        <a:lnTo>
                          <a:pt x="81" y="24"/>
                        </a:lnTo>
                        <a:lnTo>
                          <a:pt x="80" y="21"/>
                        </a:lnTo>
                        <a:lnTo>
                          <a:pt x="77" y="20"/>
                        </a:lnTo>
                        <a:lnTo>
                          <a:pt x="77" y="15"/>
                        </a:lnTo>
                        <a:lnTo>
                          <a:pt x="75" y="12"/>
                        </a:lnTo>
                        <a:lnTo>
                          <a:pt x="75" y="11"/>
                        </a:lnTo>
                        <a:lnTo>
                          <a:pt x="68" y="5"/>
                        </a:lnTo>
                        <a:lnTo>
                          <a:pt x="78" y="2"/>
                        </a:lnTo>
                        <a:lnTo>
                          <a:pt x="80" y="2"/>
                        </a:lnTo>
                        <a:lnTo>
                          <a:pt x="81" y="0"/>
                        </a:lnTo>
                        <a:close/>
                      </a:path>
                    </a:pathLst>
                  </a:custGeom>
                  <a:solidFill>
                    <a:srgbClr val="FFC000"/>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3" name="Freeform 282" descr="© INSCALE GmbH, 21.06.2010"/>
                  <p:cNvSpPr>
                    <a:spLocks noChangeAspect="1"/>
                  </p:cNvSpPr>
                  <p:nvPr/>
                </p:nvSpPr>
                <p:spPr bwMode="auto">
                  <a:xfrm>
                    <a:off x="3218117" y="4087122"/>
                    <a:ext cx="151202" cy="172010"/>
                  </a:xfrm>
                  <a:custGeom>
                    <a:avLst/>
                    <a:gdLst>
                      <a:gd name="T0" fmla="*/ 2147483646 w 159"/>
                      <a:gd name="T1" fmla="*/ 2147483646 h 181"/>
                      <a:gd name="T2" fmla="*/ 2147483646 w 159"/>
                      <a:gd name="T3" fmla="*/ 2147483646 h 181"/>
                      <a:gd name="T4" fmla="*/ 2147483646 w 159"/>
                      <a:gd name="T5" fmla="*/ 2147483646 h 181"/>
                      <a:gd name="T6" fmla="*/ 2147483646 w 159"/>
                      <a:gd name="T7" fmla="*/ 2147483646 h 181"/>
                      <a:gd name="T8" fmla="*/ 2147483646 w 159"/>
                      <a:gd name="T9" fmla="*/ 2147483646 h 181"/>
                      <a:gd name="T10" fmla="*/ 2147483646 w 159"/>
                      <a:gd name="T11" fmla="*/ 2147483646 h 181"/>
                      <a:gd name="T12" fmla="*/ 2147483646 w 159"/>
                      <a:gd name="T13" fmla="*/ 2147483646 h 181"/>
                      <a:gd name="T14" fmla="*/ 2147483646 w 159"/>
                      <a:gd name="T15" fmla="*/ 2147483646 h 181"/>
                      <a:gd name="T16" fmla="*/ 2147483646 w 159"/>
                      <a:gd name="T17" fmla="*/ 2147483646 h 181"/>
                      <a:gd name="T18" fmla="*/ 2147483646 w 159"/>
                      <a:gd name="T19" fmla="*/ 2147483646 h 181"/>
                      <a:gd name="T20" fmla="*/ 2147483646 w 159"/>
                      <a:gd name="T21" fmla="*/ 2147483646 h 181"/>
                      <a:gd name="T22" fmla="*/ 2147483646 w 159"/>
                      <a:gd name="T23" fmla="*/ 2147483646 h 181"/>
                      <a:gd name="T24" fmla="*/ 2147483646 w 159"/>
                      <a:gd name="T25" fmla="*/ 2147483646 h 181"/>
                      <a:gd name="T26" fmla="*/ 2147483646 w 159"/>
                      <a:gd name="T27" fmla="*/ 2147483646 h 181"/>
                      <a:gd name="T28" fmla="*/ 2147483646 w 159"/>
                      <a:gd name="T29" fmla="*/ 2147483646 h 181"/>
                      <a:gd name="T30" fmla="*/ 2147483646 w 159"/>
                      <a:gd name="T31" fmla="*/ 2147483646 h 181"/>
                      <a:gd name="T32" fmla="*/ 2147483646 w 159"/>
                      <a:gd name="T33" fmla="*/ 2147483646 h 181"/>
                      <a:gd name="T34" fmla="*/ 2147483646 w 159"/>
                      <a:gd name="T35" fmla="*/ 2147483646 h 181"/>
                      <a:gd name="T36" fmla="*/ 2147483646 w 159"/>
                      <a:gd name="T37" fmla="*/ 2147483646 h 181"/>
                      <a:gd name="T38" fmla="*/ 2147483646 w 159"/>
                      <a:gd name="T39" fmla="*/ 2147483646 h 181"/>
                      <a:gd name="T40" fmla="*/ 2147483646 w 159"/>
                      <a:gd name="T41" fmla="*/ 2147483646 h 181"/>
                      <a:gd name="T42" fmla="*/ 2147483646 w 159"/>
                      <a:gd name="T43" fmla="*/ 2147483646 h 181"/>
                      <a:gd name="T44" fmla="*/ 2147483646 w 159"/>
                      <a:gd name="T45" fmla="*/ 2147483646 h 181"/>
                      <a:gd name="T46" fmla="*/ 2147483646 w 159"/>
                      <a:gd name="T47" fmla="*/ 2147483646 h 181"/>
                      <a:gd name="T48" fmla="*/ 2147483646 w 159"/>
                      <a:gd name="T49" fmla="*/ 2147483646 h 181"/>
                      <a:gd name="T50" fmla="*/ 2147483646 w 159"/>
                      <a:gd name="T51" fmla="*/ 2147483646 h 181"/>
                      <a:gd name="T52" fmla="*/ 2147483646 w 159"/>
                      <a:gd name="T53" fmla="*/ 2147483646 h 181"/>
                      <a:gd name="T54" fmla="*/ 2147483646 w 159"/>
                      <a:gd name="T55" fmla="*/ 2147483646 h 181"/>
                      <a:gd name="T56" fmla="*/ 2147483646 w 159"/>
                      <a:gd name="T57" fmla="*/ 2147483646 h 181"/>
                      <a:gd name="T58" fmla="*/ 2147483646 w 159"/>
                      <a:gd name="T59" fmla="*/ 2147483646 h 181"/>
                      <a:gd name="T60" fmla="*/ 2147483646 w 159"/>
                      <a:gd name="T61" fmla="*/ 2147483646 h 181"/>
                      <a:gd name="T62" fmla="*/ 2147483646 w 159"/>
                      <a:gd name="T63" fmla="*/ 2147483646 h 181"/>
                      <a:gd name="T64" fmla="*/ 2147483646 w 159"/>
                      <a:gd name="T65" fmla="*/ 2147483646 h 181"/>
                      <a:gd name="T66" fmla="*/ 2147483646 w 159"/>
                      <a:gd name="T67" fmla="*/ 2147483646 h 181"/>
                      <a:gd name="T68" fmla="*/ 2147483646 w 159"/>
                      <a:gd name="T69" fmla="*/ 2147483646 h 181"/>
                      <a:gd name="T70" fmla="*/ 2147483646 w 159"/>
                      <a:gd name="T71" fmla="*/ 2147483646 h 181"/>
                      <a:gd name="T72" fmla="*/ 2147483646 w 159"/>
                      <a:gd name="T73" fmla="*/ 2147483646 h 181"/>
                      <a:gd name="T74" fmla="*/ 2147483646 w 159"/>
                      <a:gd name="T75" fmla="*/ 2147483646 h 181"/>
                      <a:gd name="T76" fmla="*/ 2147483646 w 159"/>
                      <a:gd name="T77" fmla="*/ 2147483646 h 181"/>
                      <a:gd name="T78" fmla="*/ 0 w 159"/>
                      <a:gd name="T79" fmla="*/ 2147483646 h 181"/>
                      <a:gd name="T80" fmla="*/ 2147483646 w 159"/>
                      <a:gd name="T81" fmla="*/ 2147483646 h 181"/>
                      <a:gd name="T82" fmla="*/ 2147483646 w 159"/>
                      <a:gd name="T83" fmla="*/ 2147483646 h 181"/>
                      <a:gd name="T84" fmla="*/ 2147483646 w 159"/>
                      <a:gd name="T85" fmla="*/ 2147483646 h 181"/>
                      <a:gd name="T86" fmla="*/ 2147483646 w 159"/>
                      <a:gd name="T87" fmla="*/ 2147483646 h 181"/>
                      <a:gd name="T88" fmla="*/ 2147483646 w 159"/>
                      <a:gd name="T89" fmla="*/ 2147483646 h 181"/>
                      <a:gd name="T90" fmla="*/ 2147483646 w 159"/>
                      <a:gd name="T91" fmla="*/ 2147483646 h 181"/>
                      <a:gd name="T92" fmla="*/ 2147483646 w 159"/>
                      <a:gd name="T93" fmla="*/ 2147483646 h 181"/>
                      <a:gd name="T94" fmla="*/ 2147483646 w 159"/>
                      <a:gd name="T95" fmla="*/ 2147483646 h 181"/>
                      <a:gd name="T96" fmla="*/ 2147483646 w 159"/>
                      <a:gd name="T97" fmla="*/ 2147483646 h 181"/>
                      <a:gd name="T98" fmla="*/ 2147483646 w 159"/>
                      <a:gd name="T99" fmla="*/ 0 h 1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9"/>
                      <a:gd name="T151" fmla="*/ 0 h 181"/>
                      <a:gd name="T152" fmla="*/ 159 w 159"/>
                      <a:gd name="T153" fmla="*/ 181 h 1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9" h="181">
                        <a:moveTo>
                          <a:pt x="95" y="0"/>
                        </a:moveTo>
                        <a:lnTo>
                          <a:pt x="102" y="0"/>
                        </a:lnTo>
                        <a:lnTo>
                          <a:pt x="104" y="2"/>
                        </a:lnTo>
                        <a:lnTo>
                          <a:pt x="105" y="5"/>
                        </a:lnTo>
                        <a:lnTo>
                          <a:pt x="108" y="6"/>
                        </a:lnTo>
                        <a:lnTo>
                          <a:pt x="110" y="9"/>
                        </a:lnTo>
                        <a:lnTo>
                          <a:pt x="111" y="11"/>
                        </a:lnTo>
                        <a:lnTo>
                          <a:pt x="113" y="31"/>
                        </a:lnTo>
                        <a:lnTo>
                          <a:pt x="120" y="37"/>
                        </a:lnTo>
                        <a:lnTo>
                          <a:pt x="114" y="49"/>
                        </a:lnTo>
                        <a:lnTo>
                          <a:pt x="120" y="55"/>
                        </a:lnTo>
                        <a:lnTo>
                          <a:pt x="120" y="58"/>
                        </a:lnTo>
                        <a:lnTo>
                          <a:pt x="122" y="60"/>
                        </a:lnTo>
                        <a:lnTo>
                          <a:pt x="125" y="60"/>
                        </a:lnTo>
                        <a:lnTo>
                          <a:pt x="125" y="55"/>
                        </a:lnTo>
                        <a:lnTo>
                          <a:pt x="126" y="52"/>
                        </a:lnTo>
                        <a:lnTo>
                          <a:pt x="128" y="54"/>
                        </a:lnTo>
                        <a:lnTo>
                          <a:pt x="131" y="55"/>
                        </a:lnTo>
                        <a:lnTo>
                          <a:pt x="132" y="55"/>
                        </a:lnTo>
                        <a:lnTo>
                          <a:pt x="132" y="58"/>
                        </a:lnTo>
                        <a:lnTo>
                          <a:pt x="137" y="58"/>
                        </a:lnTo>
                        <a:lnTo>
                          <a:pt x="131" y="67"/>
                        </a:lnTo>
                        <a:lnTo>
                          <a:pt x="131" y="68"/>
                        </a:lnTo>
                        <a:lnTo>
                          <a:pt x="132" y="70"/>
                        </a:lnTo>
                        <a:lnTo>
                          <a:pt x="132" y="73"/>
                        </a:lnTo>
                        <a:lnTo>
                          <a:pt x="129" y="79"/>
                        </a:lnTo>
                        <a:lnTo>
                          <a:pt x="123" y="85"/>
                        </a:lnTo>
                        <a:lnTo>
                          <a:pt x="116" y="83"/>
                        </a:lnTo>
                        <a:lnTo>
                          <a:pt x="114" y="86"/>
                        </a:lnTo>
                        <a:lnTo>
                          <a:pt x="114" y="88"/>
                        </a:lnTo>
                        <a:lnTo>
                          <a:pt x="113" y="91"/>
                        </a:lnTo>
                        <a:lnTo>
                          <a:pt x="113" y="92"/>
                        </a:lnTo>
                        <a:lnTo>
                          <a:pt x="111" y="95"/>
                        </a:lnTo>
                        <a:lnTo>
                          <a:pt x="111" y="99"/>
                        </a:lnTo>
                        <a:lnTo>
                          <a:pt x="102" y="108"/>
                        </a:lnTo>
                        <a:lnTo>
                          <a:pt x="113" y="120"/>
                        </a:lnTo>
                        <a:lnTo>
                          <a:pt x="116" y="119"/>
                        </a:lnTo>
                        <a:lnTo>
                          <a:pt x="126" y="119"/>
                        </a:lnTo>
                        <a:lnTo>
                          <a:pt x="132" y="122"/>
                        </a:lnTo>
                        <a:lnTo>
                          <a:pt x="134" y="125"/>
                        </a:lnTo>
                        <a:lnTo>
                          <a:pt x="137" y="128"/>
                        </a:lnTo>
                        <a:lnTo>
                          <a:pt x="138" y="131"/>
                        </a:lnTo>
                        <a:lnTo>
                          <a:pt x="139" y="132"/>
                        </a:lnTo>
                        <a:lnTo>
                          <a:pt x="139" y="134"/>
                        </a:lnTo>
                        <a:lnTo>
                          <a:pt x="141" y="134"/>
                        </a:lnTo>
                        <a:lnTo>
                          <a:pt x="142" y="132"/>
                        </a:lnTo>
                        <a:lnTo>
                          <a:pt x="145" y="132"/>
                        </a:lnTo>
                        <a:lnTo>
                          <a:pt x="148" y="131"/>
                        </a:lnTo>
                        <a:lnTo>
                          <a:pt x="153" y="131"/>
                        </a:lnTo>
                        <a:lnTo>
                          <a:pt x="154" y="132"/>
                        </a:lnTo>
                        <a:lnTo>
                          <a:pt x="157" y="134"/>
                        </a:lnTo>
                        <a:lnTo>
                          <a:pt x="159" y="136"/>
                        </a:lnTo>
                        <a:lnTo>
                          <a:pt x="154" y="141"/>
                        </a:lnTo>
                        <a:lnTo>
                          <a:pt x="151" y="142"/>
                        </a:lnTo>
                        <a:lnTo>
                          <a:pt x="148" y="142"/>
                        </a:lnTo>
                        <a:lnTo>
                          <a:pt x="145" y="144"/>
                        </a:lnTo>
                        <a:lnTo>
                          <a:pt x="144" y="145"/>
                        </a:lnTo>
                        <a:lnTo>
                          <a:pt x="141" y="151"/>
                        </a:lnTo>
                        <a:lnTo>
                          <a:pt x="141" y="154"/>
                        </a:lnTo>
                        <a:lnTo>
                          <a:pt x="139" y="156"/>
                        </a:lnTo>
                        <a:lnTo>
                          <a:pt x="137" y="157"/>
                        </a:lnTo>
                        <a:lnTo>
                          <a:pt x="132" y="157"/>
                        </a:lnTo>
                        <a:lnTo>
                          <a:pt x="129" y="154"/>
                        </a:lnTo>
                        <a:lnTo>
                          <a:pt x="128" y="154"/>
                        </a:lnTo>
                        <a:lnTo>
                          <a:pt x="126" y="156"/>
                        </a:lnTo>
                        <a:lnTo>
                          <a:pt x="120" y="159"/>
                        </a:lnTo>
                        <a:lnTo>
                          <a:pt x="117" y="159"/>
                        </a:lnTo>
                        <a:lnTo>
                          <a:pt x="114" y="157"/>
                        </a:lnTo>
                        <a:lnTo>
                          <a:pt x="111" y="157"/>
                        </a:lnTo>
                        <a:lnTo>
                          <a:pt x="110" y="156"/>
                        </a:lnTo>
                        <a:lnTo>
                          <a:pt x="108" y="156"/>
                        </a:lnTo>
                        <a:lnTo>
                          <a:pt x="100" y="147"/>
                        </a:lnTo>
                        <a:lnTo>
                          <a:pt x="95" y="150"/>
                        </a:lnTo>
                        <a:lnTo>
                          <a:pt x="95" y="154"/>
                        </a:lnTo>
                        <a:lnTo>
                          <a:pt x="92" y="159"/>
                        </a:lnTo>
                        <a:lnTo>
                          <a:pt x="88" y="163"/>
                        </a:lnTo>
                        <a:lnTo>
                          <a:pt x="85" y="165"/>
                        </a:lnTo>
                        <a:lnTo>
                          <a:pt x="82" y="168"/>
                        </a:lnTo>
                        <a:lnTo>
                          <a:pt x="82" y="170"/>
                        </a:lnTo>
                        <a:lnTo>
                          <a:pt x="80" y="173"/>
                        </a:lnTo>
                        <a:lnTo>
                          <a:pt x="80" y="176"/>
                        </a:lnTo>
                        <a:lnTo>
                          <a:pt x="66" y="181"/>
                        </a:lnTo>
                        <a:lnTo>
                          <a:pt x="57" y="170"/>
                        </a:lnTo>
                        <a:lnTo>
                          <a:pt x="58" y="134"/>
                        </a:lnTo>
                        <a:lnTo>
                          <a:pt x="57" y="134"/>
                        </a:lnTo>
                        <a:lnTo>
                          <a:pt x="55" y="135"/>
                        </a:lnTo>
                        <a:lnTo>
                          <a:pt x="52" y="135"/>
                        </a:lnTo>
                        <a:lnTo>
                          <a:pt x="46" y="132"/>
                        </a:lnTo>
                        <a:lnTo>
                          <a:pt x="45" y="131"/>
                        </a:lnTo>
                        <a:lnTo>
                          <a:pt x="42" y="129"/>
                        </a:lnTo>
                        <a:lnTo>
                          <a:pt x="39" y="126"/>
                        </a:lnTo>
                        <a:lnTo>
                          <a:pt x="39" y="125"/>
                        </a:lnTo>
                        <a:lnTo>
                          <a:pt x="42" y="122"/>
                        </a:lnTo>
                        <a:lnTo>
                          <a:pt x="42" y="119"/>
                        </a:lnTo>
                        <a:lnTo>
                          <a:pt x="43" y="117"/>
                        </a:lnTo>
                        <a:lnTo>
                          <a:pt x="43" y="113"/>
                        </a:lnTo>
                        <a:lnTo>
                          <a:pt x="39" y="108"/>
                        </a:lnTo>
                        <a:lnTo>
                          <a:pt x="36" y="107"/>
                        </a:lnTo>
                        <a:lnTo>
                          <a:pt x="34" y="105"/>
                        </a:lnTo>
                        <a:lnTo>
                          <a:pt x="31" y="104"/>
                        </a:lnTo>
                        <a:lnTo>
                          <a:pt x="30" y="85"/>
                        </a:lnTo>
                        <a:lnTo>
                          <a:pt x="40" y="80"/>
                        </a:lnTo>
                        <a:lnTo>
                          <a:pt x="40" y="70"/>
                        </a:lnTo>
                        <a:lnTo>
                          <a:pt x="49" y="61"/>
                        </a:lnTo>
                        <a:lnTo>
                          <a:pt x="40" y="58"/>
                        </a:lnTo>
                        <a:lnTo>
                          <a:pt x="39" y="58"/>
                        </a:lnTo>
                        <a:lnTo>
                          <a:pt x="37" y="57"/>
                        </a:lnTo>
                        <a:lnTo>
                          <a:pt x="29" y="52"/>
                        </a:lnTo>
                        <a:lnTo>
                          <a:pt x="29" y="45"/>
                        </a:lnTo>
                        <a:lnTo>
                          <a:pt x="30" y="42"/>
                        </a:lnTo>
                        <a:lnTo>
                          <a:pt x="31" y="40"/>
                        </a:lnTo>
                        <a:lnTo>
                          <a:pt x="33" y="37"/>
                        </a:lnTo>
                        <a:lnTo>
                          <a:pt x="18" y="37"/>
                        </a:lnTo>
                        <a:lnTo>
                          <a:pt x="15" y="39"/>
                        </a:lnTo>
                        <a:lnTo>
                          <a:pt x="14" y="42"/>
                        </a:lnTo>
                        <a:lnTo>
                          <a:pt x="11" y="45"/>
                        </a:lnTo>
                        <a:lnTo>
                          <a:pt x="8" y="46"/>
                        </a:lnTo>
                        <a:lnTo>
                          <a:pt x="5" y="45"/>
                        </a:lnTo>
                        <a:lnTo>
                          <a:pt x="3" y="43"/>
                        </a:lnTo>
                        <a:lnTo>
                          <a:pt x="0" y="42"/>
                        </a:lnTo>
                        <a:lnTo>
                          <a:pt x="0" y="39"/>
                        </a:lnTo>
                        <a:lnTo>
                          <a:pt x="2" y="36"/>
                        </a:lnTo>
                        <a:lnTo>
                          <a:pt x="2" y="33"/>
                        </a:lnTo>
                        <a:lnTo>
                          <a:pt x="6" y="24"/>
                        </a:lnTo>
                        <a:lnTo>
                          <a:pt x="8" y="23"/>
                        </a:lnTo>
                        <a:lnTo>
                          <a:pt x="9" y="23"/>
                        </a:lnTo>
                        <a:lnTo>
                          <a:pt x="14" y="18"/>
                        </a:lnTo>
                        <a:lnTo>
                          <a:pt x="20" y="15"/>
                        </a:lnTo>
                        <a:lnTo>
                          <a:pt x="24" y="15"/>
                        </a:lnTo>
                        <a:lnTo>
                          <a:pt x="26" y="17"/>
                        </a:lnTo>
                        <a:lnTo>
                          <a:pt x="29" y="17"/>
                        </a:lnTo>
                        <a:lnTo>
                          <a:pt x="31" y="20"/>
                        </a:lnTo>
                        <a:lnTo>
                          <a:pt x="33" y="20"/>
                        </a:lnTo>
                        <a:lnTo>
                          <a:pt x="33" y="14"/>
                        </a:lnTo>
                        <a:lnTo>
                          <a:pt x="40" y="14"/>
                        </a:lnTo>
                        <a:lnTo>
                          <a:pt x="46" y="15"/>
                        </a:lnTo>
                        <a:lnTo>
                          <a:pt x="51" y="17"/>
                        </a:lnTo>
                        <a:lnTo>
                          <a:pt x="52" y="18"/>
                        </a:lnTo>
                        <a:lnTo>
                          <a:pt x="54" y="18"/>
                        </a:lnTo>
                        <a:lnTo>
                          <a:pt x="54" y="21"/>
                        </a:lnTo>
                        <a:lnTo>
                          <a:pt x="55" y="24"/>
                        </a:lnTo>
                        <a:lnTo>
                          <a:pt x="57" y="26"/>
                        </a:lnTo>
                        <a:lnTo>
                          <a:pt x="64" y="26"/>
                        </a:lnTo>
                        <a:lnTo>
                          <a:pt x="70" y="23"/>
                        </a:lnTo>
                        <a:lnTo>
                          <a:pt x="71" y="21"/>
                        </a:lnTo>
                        <a:lnTo>
                          <a:pt x="73" y="3"/>
                        </a:lnTo>
                        <a:lnTo>
                          <a:pt x="86" y="5"/>
                        </a:lnTo>
                        <a:lnTo>
                          <a:pt x="88" y="5"/>
                        </a:lnTo>
                        <a:lnTo>
                          <a:pt x="89" y="3"/>
                        </a:lnTo>
                        <a:lnTo>
                          <a:pt x="95"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4" name="Freeform 283" descr="© INSCALE GmbH, 21.06.2010"/>
                  <p:cNvSpPr>
                    <a:spLocks noChangeAspect="1"/>
                  </p:cNvSpPr>
                  <p:nvPr/>
                </p:nvSpPr>
                <p:spPr bwMode="auto">
                  <a:xfrm>
                    <a:off x="3269443" y="3894942"/>
                    <a:ext cx="150434" cy="160275"/>
                  </a:xfrm>
                  <a:custGeom>
                    <a:avLst/>
                    <a:gdLst>
                      <a:gd name="T0" fmla="*/ 2147483646 w 156"/>
                      <a:gd name="T1" fmla="*/ 2147483646 h 167"/>
                      <a:gd name="T2" fmla="*/ 2147483646 w 156"/>
                      <a:gd name="T3" fmla="*/ 2147483646 h 167"/>
                      <a:gd name="T4" fmla="*/ 2147483646 w 156"/>
                      <a:gd name="T5" fmla="*/ 2147483646 h 167"/>
                      <a:gd name="T6" fmla="*/ 2147483646 w 156"/>
                      <a:gd name="T7" fmla="*/ 2147483646 h 167"/>
                      <a:gd name="T8" fmla="*/ 2147483646 w 156"/>
                      <a:gd name="T9" fmla="*/ 2147483646 h 167"/>
                      <a:gd name="T10" fmla="*/ 2147483646 w 156"/>
                      <a:gd name="T11" fmla="*/ 2147483646 h 167"/>
                      <a:gd name="T12" fmla="*/ 2147483646 w 156"/>
                      <a:gd name="T13" fmla="*/ 2147483646 h 167"/>
                      <a:gd name="T14" fmla="*/ 2147483646 w 156"/>
                      <a:gd name="T15" fmla="*/ 2147483646 h 167"/>
                      <a:gd name="T16" fmla="*/ 2147483646 w 156"/>
                      <a:gd name="T17" fmla="*/ 2147483646 h 167"/>
                      <a:gd name="T18" fmla="*/ 2147483646 w 156"/>
                      <a:gd name="T19" fmla="*/ 2147483646 h 167"/>
                      <a:gd name="T20" fmla="*/ 2147483646 w 156"/>
                      <a:gd name="T21" fmla="*/ 2147483646 h 167"/>
                      <a:gd name="T22" fmla="*/ 2147483646 w 156"/>
                      <a:gd name="T23" fmla="*/ 2147483646 h 167"/>
                      <a:gd name="T24" fmla="*/ 2147483646 w 156"/>
                      <a:gd name="T25" fmla="*/ 2147483646 h 167"/>
                      <a:gd name="T26" fmla="*/ 2147483646 w 156"/>
                      <a:gd name="T27" fmla="*/ 2147483646 h 167"/>
                      <a:gd name="T28" fmla="*/ 2147483646 w 156"/>
                      <a:gd name="T29" fmla="*/ 2147483646 h 167"/>
                      <a:gd name="T30" fmla="*/ 2147483646 w 156"/>
                      <a:gd name="T31" fmla="*/ 2147483646 h 167"/>
                      <a:gd name="T32" fmla="*/ 2147483646 w 156"/>
                      <a:gd name="T33" fmla="*/ 2147483646 h 167"/>
                      <a:gd name="T34" fmla="*/ 2147483646 w 156"/>
                      <a:gd name="T35" fmla="*/ 2147483646 h 167"/>
                      <a:gd name="T36" fmla="*/ 2147483646 w 156"/>
                      <a:gd name="T37" fmla="*/ 2147483646 h 167"/>
                      <a:gd name="T38" fmla="*/ 2147483646 w 156"/>
                      <a:gd name="T39" fmla="*/ 2147483646 h 167"/>
                      <a:gd name="T40" fmla="*/ 2147483646 w 156"/>
                      <a:gd name="T41" fmla="*/ 2147483646 h 167"/>
                      <a:gd name="T42" fmla="*/ 2147483646 w 156"/>
                      <a:gd name="T43" fmla="*/ 2147483646 h 167"/>
                      <a:gd name="T44" fmla="*/ 2147483646 w 156"/>
                      <a:gd name="T45" fmla="*/ 2147483646 h 167"/>
                      <a:gd name="T46" fmla="*/ 2147483646 w 156"/>
                      <a:gd name="T47" fmla="*/ 2147483646 h 167"/>
                      <a:gd name="T48" fmla="*/ 2147483646 w 156"/>
                      <a:gd name="T49" fmla="*/ 2147483646 h 167"/>
                      <a:gd name="T50" fmla="*/ 2147483646 w 156"/>
                      <a:gd name="T51" fmla="*/ 2147483646 h 167"/>
                      <a:gd name="T52" fmla="*/ 2147483646 w 156"/>
                      <a:gd name="T53" fmla="*/ 2147483646 h 167"/>
                      <a:gd name="T54" fmla="*/ 2147483646 w 156"/>
                      <a:gd name="T55" fmla="*/ 2147483646 h 167"/>
                      <a:gd name="T56" fmla="*/ 2147483646 w 156"/>
                      <a:gd name="T57" fmla="*/ 2147483646 h 167"/>
                      <a:gd name="T58" fmla="*/ 2147483646 w 156"/>
                      <a:gd name="T59" fmla="*/ 2147483646 h 167"/>
                      <a:gd name="T60" fmla="*/ 2147483646 w 156"/>
                      <a:gd name="T61" fmla="*/ 2147483646 h 167"/>
                      <a:gd name="T62" fmla="*/ 2147483646 w 156"/>
                      <a:gd name="T63" fmla="*/ 2147483646 h 167"/>
                      <a:gd name="T64" fmla="*/ 2147483646 w 156"/>
                      <a:gd name="T65" fmla="*/ 2147483646 h 167"/>
                      <a:gd name="T66" fmla="*/ 2147483646 w 156"/>
                      <a:gd name="T67" fmla="*/ 2147483646 h 167"/>
                      <a:gd name="T68" fmla="*/ 2147483646 w 156"/>
                      <a:gd name="T69" fmla="*/ 2147483646 h 167"/>
                      <a:gd name="T70" fmla="*/ 2147483646 w 156"/>
                      <a:gd name="T71" fmla="*/ 2147483646 h 167"/>
                      <a:gd name="T72" fmla="*/ 2147483646 w 156"/>
                      <a:gd name="T73" fmla="*/ 2147483646 h 167"/>
                      <a:gd name="T74" fmla="*/ 2147483646 w 156"/>
                      <a:gd name="T75" fmla="*/ 2147483646 h 167"/>
                      <a:gd name="T76" fmla="*/ 2147483646 w 156"/>
                      <a:gd name="T77" fmla="*/ 2147483646 h 167"/>
                      <a:gd name="T78" fmla="*/ 2147483646 w 156"/>
                      <a:gd name="T79" fmla="*/ 2147483646 h 167"/>
                      <a:gd name="T80" fmla="*/ 2147483646 w 156"/>
                      <a:gd name="T81" fmla="*/ 2147483646 h 167"/>
                      <a:gd name="T82" fmla="*/ 2147483646 w 156"/>
                      <a:gd name="T83" fmla="*/ 2147483646 h 167"/>
                      <a:gd name="T84" fmla="*/ 2147483646 w 156"/>
                      <a:gd name="T85" fmla="*/ 2147483646 h 167"/>
                      <a:gd name="T86" fmla="*/ 2147483646 w 156"/>
                      <a:gd name="T87" fmla="*/ 2147483646 h 167"/>
                      <a:gd name="T88" fmla="*/ 2147483646 w 156"/>
                      <a:gd name="T89" fmla="*/ 2147483646 h 167"/>
                      <a:gd name="T90" fmla="*/ 2147483646 w 156"/>
                      <a:gd name="T91" fmla="*/ 2147483646 h 167"/>
                      <a:gd name="T92" fmla="*/ 2147483646 w 156"/>
                      <a:gd name="T93" fmla="*/ 2147483646 h 167"/>
                      <a:gd name="T94" fmla="*/ 2147483646 w 156"/>
                      <a:gd name="T95" fmla="*/ 2147483646 h 167"/>
                      <a:gd name="T96" fmla="*/ 2147483646 w 156"/>
                      <a:gd name="T97" fmla="*/ 2147483646 h 167"/>
                      <a:gd name="T98" fmla="*/ 2147483646 w 156"/>
                      <a:gd name="T99" fmla="*/ 2147483646 h 167"/>
                      <a:gd name="T100" fmla="*/ 0 w 156"/>
                      <a:gd name="T101" fmla="*/ 2147483646 h 167"/>
                      <a:gd name="T102" fmla="*/ 2147483646 w 156"/>
                      <a:gd name="T103" fmla="*/ 2147483646 h 167"/>
                      <a:gd name="T104" fmla="*/ 2147483646 w 156"/>
                      <a:gd name="T105" fmla="*/ 2147483646 h 167"/>
                      <a:gd name="T106" fmla="*/ 2147483646 w 156"/>
                      <a:gd name="T107" fmla="*/ 2147483646 h 167"/>
                      <a:gd name="T108" fmla="*/ 2147483646 w 156"/>
                      <a:gd name="T109" fmla="*/ 2147483646 h 167"/>
                      <a:gd name="T110" fmla="*/ 2147483646 w 156"/>
                      <a:gd name="T111" fmla="*/ 2147483646 h 167"/>
                      <a:gd name="T112" fmla="*/ 2147483646 w 156"/>
                      <a:gd name="T113" fmla="*/ 2147483646 h 167"/>
                      <a:gd name="T114" fmla="*/ 2147483646 w 156"/>
                      <a:gd name="T115" fmla="*/ 2147483646 h 167"/>
                      <a:gd name="T116" fmla="*/ 2147483646 w 156"/>
                      <a:gd name="T117" fmla="*/ 2147483646 h 167"/>
                      <a:gd name="T118" fmla="*/ 2147483646 w 156"/>
                      <a:gd name="T119" fmla="*/ 2147483646 h 167"/>
                      <a:gd name="T120" fmla="*/ 2147483646 w 156"/>
                      <a:gd name="T121" fmla="*/ 0 h 1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6"/>
                      <a:gd name="T184" fmla="*/ 0 h 167"/>
                      <a:gd name="T185" fmla="*/ 156 w 156"/>
                      <a:gd name="T186" fmla="*/ 167 h 1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6" h="167">
                        <a:moveTo>
                          <a:pt x="94" y="0"/>
                        </a:moveTo>
                        <a:lnTo>
                          <a:pt x="97" y="0"/>
                        </a:lnTo>
                        <a:lnTo>
                          <a:pt x="102" y="2"/>
                        </a:lnTo>
                        <a:lnTo>
                          <a:pt x="105" y="3"/>
                        </a:lnTo>
                        <a:lnTo>
                          <a:pt x="109" y="5"/>
                        </a:lnTo>
                        <a:lnTo>
                          <a:pt x="112" y="8"/>
                        </a:lnTo>
                        <a:lnTo>
                          <a:pt x="112" y="11"/>
                        </a:lnTo>
                        <a:lnTo>
                          <a:pt x="115" y="14"/>
                        </a:lnTo>
                        <a:lnTo>
                          <a:pt x="117" y="17"/>
                        </a:lnTo>
                        <a:lnTo>
                          <a:pt x="122" y="22"/>
                        </a:lnTo>
                        <a:lnTo>
                          <a:pt x="124" y="25"/>
                        </a:lnTo>
                        <a:lnTo>
                          <a:pt x="124" y="30"/>
                        </a:lnTo>
                        <a:lnTo>
                          <a:pt x="125" y="31"/>
                        </a:lnTo>
                        <a:lnTo>
                          <a:pt x="125" y="33"/>
                        </a:lnTo>
                        <a:lnTo>
                          <a:pt x="128" y="31"/>
                        </a:lnTo>
                        <a:lnTo>
                          <a:pt x="140" y="31"/>
                        </a:lnTo>
                        <a:lnTo>
                          <a:pt x="140" y="43"/>
                        </a:lnTo>
                        <a:lnTo>
                          <a:pt x="136" y="48"/>
                        </a:lnTo>
                        <a:lnTo>
                          <a:pt x="134" y="51"/>
                        </a:lnTo>
                        <a:lnTo>
                          <a:pt x="133" y="52"/>
                        </a:lnTo>
                        <a:lnTo>
                          <a:pt x="133" y="56"/>
                        </a:lnTo>
                        <a:lnTo>
                          <a:pt x="130" y="58"/>
                        </a:lnTo>
                        <a:lnTo>
                          <a:pt x="124" y="58"/>
                        </a:lnTo>
                        <a:lnTo>
                          <a:pt x="121" y="55"/>
                        </a:lnTo>
                        <a:lnTo>
                          <a:pt x="118" y="54"/>
                        </a:lnTo>
                        <a:lnTo>
                          <a:pt x="117" y="54"/>
                        </a:lnTo>
                        <a:lnTo>
                          <a:pt x="117" y="65"/>
                        </a:lnTo>
                        <a:lnTo>
                          <a:pt x="114" y="67"/>
                        </a:lnTo>
                        <a:lnTo>
                          <a:pt x="112" y="70"/>
                        </a:lnTo>
                        <a:lnTo>
                          <a:pt x="112" y="76"/>
                        </a:lnTo>
                        <a:lnTo>
                          <a:pt x="111" y="79"/>
                        </a:lnTo>
                        <a:lnTo>
                          <a:pt x="111" y="82"/>
                        </a:lnTo>
                        <a:lnTo>
                          <a:pt x="103" y="86"/>
                        </a:lnTo>
                        <a:lnTo>
                          <a:pt x="105" y="88"/>
                        </a:lnTo>
                        <a:lnTo>
                          <a:pt x="106" y="91"/>
                        </a:lnTo>
                        <a:lnTo>
                          <a:pt x="109" y="93"/>
                        </a:lnTo>
                        <a:lnTo>
                          <a:pt x="111" y="96"/>
                        </a:lnTo>
                        <a:lnTo>
                          <a:pt x="114" y="98"/>
                        </a:lnTo>
                        <a:lnTo>
                          <a:pt x="121" y="98"/>
                        </a:lnTo>
                        <a:lnTo>
                          <a:pt x="121" y="102"/>
                        </a:lnTo>
                        <a:lnTo>
                          <a:pt x="118" y="108"/>
                        </a:lnTo>
                        <a:lnTo>
                          <a:pt x="115" y="111"/>
                        </a:lnTo>
                        <a:lnTo>
                          <a:pt x="114" y="114"/>
                        </a:lnTo>
                        <a:lnTo>
                          <a:pt x="114" y="117"/>
                        </a:lnTo>
                        <a:lnTo>
                          <a:pt x="117" y="119"/>
                        </a:lnTo>
                        <a:lnTo>
                          <a:pt x="118" y="120"/>
                        </a:lnTo>
                        <a:lnTo>
                          <a:pt x="124" y="123"/>
                        </a:lnTo>
                        <a:lnTo>
                          <a:pt x="127" y="123"/>
                        </a:lnTo>
                        <a:lnTo>
                          <a:pt x="127" y="117"/>
                        </a:lnTo>
                        <a:lnTo>
                          <a:pt x="125" y="117"/>
                        </a:lnTo>
                        <a:lnTo>
                          <a:pt x="124" y="116"/>
                        </a:lnTo>
                        <a:lnTo>
                          <a:pt x="127" y="113"/>
                        </a:lnTo>
                        <a:lnTo>
                          <a:pt x="127" y="111"/>
                        </a:lnTo>
                        <a:lnTo>
                          <a:pt x="130" y="108"/>
                        </a:lnTo>
                        <a:lnTo>
                          <a:pt x="139" y="105"/>
                        </a:lnTo>
                        <a:lnTo>
                          <a:pt x="142" y="105"/>
                        </a:lnTo>
                        <a:lnTo>
                          <a:pt x="145" y="107"/>
                        </a:lnTo>
                        <a:lnTo>
                          <a:pt x="149" y="107"/>
                        </a:lnTo>
                        <a:lnTo>
                          <a:pt x="151" y="108"/>
                        </a:lnTo>
                        <a:lnTo>
                          <a:pt x="152" y="108"/>
                        </a:lnTo>
                        <a:lnTo>
                          <a:pt x="152" y="116"/>
                        </a:lnTo>
                        <a:lnTo>
                          <a:pt x="151" y="119"/>
                        </a:lnTo>
                        <a:lnTo>
                          <a:pt x="148" y="120"/>
                        </a:lnTo>
                        <a:lnTo>
                          <a:pt x="146" y="123"/>
                        </a:lnTo>
                        <a:lnTo>
                          <a:pt x="145" y="125"/>
                        </a:lnTo>
                        <a:lnTo>
                          <a:pt x="145" y="133"/>
                        </a:lnTo>
                        <a:lnTo>
                          <a:pt x="156" y="133"/>
                        </a:lnTo>
                        <a:lnTo>
                          <a:pt x="156" y="139"/>
                        </a:lnTo>
                        <a:lnTo>
                          <a:pt x="149" y="148"/>
                        </a:lnTo>
                        <a:lnTo>
                          <a:pt x="151" y="154"/>
                        </a:lnTo>
                        <a:lnTo>
                          <a:pt x="149" y="154"/>
                        </a:lnTo>
                        <a:lnTo>
                          <a:pt x="148" y="156"/>
                        </a:lnTo>
                        <a:lnTo>
                          <a:pt x="142" y="159"/>
                        </a:lnTo>
                        <a:lnTo>
                          <a:pt x="139" y="161"/>
                        </a:lnTo>
                        <a:lnTo>
                          <a:pt x="131" y="161"/>
                        </a:lnTo>
                        <a:lnTo>
                          <a:pt x="124" y="167"/>
                        </a:lnTo>
                        <a:lnTo>
                          <a:pt x="120" y="163"/>
                        </a:lnTo>
                        <a:lnTo>
                          <a:pt x="118" y="163"/>
                        </a:lnTo>
                        <a:lnTo>
                          <a:pt x="117" y="164"/>
                        </a:lnTo>
                        <a:lnTo>
                          <a:pt x="111" y="164"/>
                        </a:lnTo>
                        <a:lnTo>
                          <a:pt x="109" y="163"/>
                        </a:lnTo>
                        <a:lnTo>
                          <a:pt x="109" y="159"/>
                        </a:lnTo>
                        <a:lnTo>
                          <a:pt x="111" y="157"/>
                        </a:lnTo>
                        <a:lnTo>
                          <a:pt x="111" y="154"/>
                        </a:lnTo>
                        <a:lnTo>
                          <a:pt x="108" y="153"/>
                        </a:lnTo>
                        <a:lnTo>
                          <a:pt x="106" y="151"/>
                        </a:lnTo>
                        <a:lnTo>
                          <a:pt x="103" y="151"/>
                        </a:lnTo>
                        <a:lnTo>
                          <a:pt x="102" y="150"/>
                        </a:lnTo>
                        <a:lnTo>
                          <a:pt x="99" y="150"/>
                        </a:lnTo>
                        <a:lnTo>
                          <a:pt x="97" y="151"/>
                        </a:lnTo>
                        <a:lnTo>
                          <a:pt x="93" y="153"/>
                        </a:lnTo>
                        <a:lnTo>
                          <a:pt x="91" y="154"/>
                        </a:lnTo>
                        <a:lnTo>
                          <a:pt x="88" y="154"/>
                        </a:lnTo>
                        <a:lnTo>
                          <a:pt x="85" y="151"/>
                        </a:lnTo>
                        <a:lnTo>
                          <a:pt x="85" y="148"/>
                        </a:lnTo>
                        <a:lnTo>
                          <a:pt x="81" y="151"/>
                        </a:lnTo>
                        <a:lnTo>
                          <a:pt x="78" y="151"/>
                        </a:lnTo>
                        <a:lnTo>
                          <a:pt x="77" y="153"/>
                        </a:lnTo>
                        <a:lnTo>
                          <a:pt x="75" y="153"/>
                        </a:lnTo>
                        <a:lnTo>
                          <a:pt x="74" y="154"/>
                        </a:lnTo>
                        <a:lnTo>
                          <a:pt x="74" y="147"/>
                        </a:lnTo>
                        <a:lnTo>
                          <a:pt x="72" y="145"/>
                        </a:lnTo>
                        <a:lnTo>
                          <a:pt x="71" y="145"/>
                        </a:lnTo>
                        <a:lnTo>
                          <a:pt x="69" y="147"/>
                        </a:lnTo>
                        <a:lnTo>
                          <a:pt x="69" y="148"/>
                        </a:lnTo>
                        <a:lnTo>
                          <a:pt x="68" y="148"/>
                        </a:lnTo>
                        <a:lnTo>
                          <a:pt x="66" y="147"/>
                        </a:lnTo>
                        <a:lnTo>
                          <a:pt x="65" y="144"/>
                        </a:lnTo>
                        <a:lnTo>
                          <a:pt x="62" y="142"/>
                        </a:lnTo>
                        <a:lnTo>
                          <a:pt x="62" y="136"/>
                        </a:lnTo>
                        <a:lnTo>
                          <a:pt x="63" y="133"/>
                        </a:lnTo>
                        <a:lnTo>
                          <a:pt x="63" y="130"/>
                        </a:lnTo>
                        <a:lnTo>
                          <a:pt x="62" y="129"/>
                        </a:lnTo>
                        <a:lnTo>
                          <a:pt x="62" y="126"/>
                        </a:lnTo>
                        <a:lnTo>
                          <a:pt x="60" y="125"/>
                        </a:lnTo>
                        <a:lnTo>
                          <a:pt x="56" y="125"/>
                        </a:lnTo>
                        <a:lnTo>
                          <a:pt x="56" y="123"/>
                        </a:lnTo>
                        <a:lnTo>
                          <a:pt x="57" y="122"/>
                        </a:lnTo>
                        <a:lnTo>
                          <a:pt x="57" y="116"/>
                        </a:lnTo>
                        <a:lnTo>
                          <a:pt x="59" y="114"/>
                        </a:lnTo>
                        <a:lnTo>
                          <a:pt x="59" y="111"/>
                        </a:lnTo>
                        <a:lnTo>
                          <a:pt x="57" y="101"/>
                        </a:lnTo>
                        <a:lnTo>
                          <a:pt x="56" y="102"/>
                        </a:lnTo>
                        <a:lnTo>
                          <a:pt x="50" y="105"/>
                        </a:lnTo>
                        <a:lnTo>
                          <a:pt x="48" y="107"/>
                        </a:lnTo>
                        <a:lnTo>
                          <a:pt x="46" y="108"/>
                        </a:lnTo>
                        <a:lnTo>
                          <a:pt x="43" y="108"/>
                        </a:lnTo>
                        <a:lnTo>
                          <a:pt x="38" y="110"/>
                        </a:lnTo>
                        <a:lnTo>
                          <a:pt x="37" y="113"/>
                        </a:lnTo>
                        <a:lnTo>
                          <a:pt x="34" y="114"/>
                        </a:lnTo>
                        <a:lnTo>
                          <a:pt x="32" y="116"/>
                        </a:lnTo>
                        <a:lnTo>
                          <a:pt x="29" y="117"/>
                        </a:lnTo>
                        <a:lnTo>
                          <a:pt x="26" y="117"/>
                        </a:lnTo>
                        <a:lnTo>
                          <a:pt x="23" y="114"/>
                        </a:lnTo>
                        <a:lnTo>
                          <a:pt x="23" y="110"/>
                        </a:lnTo>
                        <a:lnTo>
                          <a:pt x="22" y="108"/>
                        </a:lnTo>
                        <a:lnTo>
                          <a:pt x="20" y="105"/>
                        </a:lnTo>
                        <a:lnTo>
                          <a:pt x="20" y="101"/>
                        </a:lnTo>
                        <a:lnTo>
                          <a:pt x="19" y="99"/>
                        </a:lnTo>
                        <a:lnTo>
                          <a:pt x="17" y="96"/>
                        </a:lnTo>
                        <a:lnTo>
                          <a:pt x="17" y="93"/>
                        </a:lnTo>
                        <a:lnTo>
                          <a:pt x="14" y="88"/>
                        </a:lnTo>
                        <a:lnTo>
                          <a:pt x="14" y="80"/>
                        </a:lnTo>
                        <a:lnTo>
                          <a:pt x="19" y="71"/>
                        </a:lnTo>
                        <a:lnTo>
                          <a:pt x="19" y="70"/>
                        </a:lnTo>
                        <a:lnTo>
                          <a:pt x="17" y="67"/>
                        </a:lnTo>
                        <a:lnTo>
                          <a:pt x="14" y="64"/>
                        </a:lnTo>
                        <a:lnTo>
                          <a:pt x="12" y="62"/>
                        </a:lnTo>
                        <a:lnTo>
                          <a:pt x="4" y="62"/>
                        </a:lnTo>
                        <a:lnTo>
                          <a:pt x="4" y="52"/>
                        </a:lnTo>
                        <a:lnTo>
                          <a:pt x="3" y="49"/>
                        </a:lnTo>
                        <a:lnTo>
                          <a:pt x="0" y="46"/>
                        </a:lnTo>
                        <a:lnTo>
                          <a:pt x="0" y="45"/>
                        </a:lnTo>
                        <a:lnTo>
                          <a:pt x="1" y="45"/>
                        </a:lnTo>
                        <a:lnTo>
                          <a:pt x="3" y="43"/>
                        </a:lnTo>
                        <a:lnTo>
                          <a:pt x="7" y="43"/>
                        </a:lnTo>
                        <a:lnTo>
                          <a:pt x="9" y="42"/>
                        </a:lnTo>
                        <a:lnTo>
                          <a:pt x="9" y="40"/>
                        </a:lnTo>
                        <a:lnTo>
                          <a:pt x="10" y="39"/>
                        </a:lnTo>
                        <a:lnTo>
                          <a:pt x="10" y="36"/>
                        </a:lnTo>
                        <a:lnTo>
                          <a:pt x="13" y="36"/>
                        </a:lnTo>
                        <a:lnTo>
                          <a:pt x="22" y="39"/>
                        </a:lnTo>
                        <a:lnTo>
                          <a:pt x="25" y="39"/>
                        </a:lnTo>
                        <a:lnTo>
                          <a:pt x="28" y="37"/>
                        </a:lnTo>
                        <a:lnTo>
                          <a:pt x="37" y="37"/>
                        </a:lnTo>
                        <a:lnTo>
                          <a:pt x="41" y="39"/>
                        </a:lnTo>
                        <a:lnTo>
                          <a:pt x="47" y="42"/>
                        </a:lnTo>
                        <a:lnTo>
                          <a:pt x="51" y="42"/>
                        </a:lnTo>
                        <a:lnTo>
                          <a:pt x="53" y="40"/>
                        </a:lnTo>
                        <a:lnTo>
                          <a:pt x="57" y="39"/>
                        </a:lnTo>
                        <a:lnTo>
                          <a:pt x="60" y="36"/>
                        </a:lnTo>
                        <a:lnTo>
                          <a:pt x="65" y="33"/>
                        </a:lnTo>
                        <a:lnTo>
                          <a:pt x="66" y="28"/>
                        </a:lnTo>
                        <a:lnTo>
                          <a:pt x="69" y="25"/>
                        </a:lnTo>
                        <a:lnTo>
                          <a:pt x="71" y="22"/>
                        </a:lnTo>
                        <a:lnTo>
                          <a:pt x="72" y="21"/>
                        </a:lnTo>
                        <a:lnTo>
                          <a:pt x="72" y="20"/>
                        </a:lnTo>
                        <a:lnTo>
                          <a:pt x="77" y="20"/>
                        </a:lnTo>
                        <a:lnTo>
                          <a:pt x="81" y="18"/>
                        </a:lnTo>
                        <a:lnTo>
                          <a:pt x="87" y="17"/>
                        </a:lnTo>
                        <a:lnTo>
                          <a:pt x="93" y="14"/>
                        </a:lnTo>
                        <a:lnTo>
                          <a:pt x="94" y="11"/>
                        </a:lnTo>
                        <a:lnTo>
                          <a:pt x="94" y="0"/>
                        </a:lnTo>
                        <a:close/>
                      </a:path>
                    </a:pathLst>
                  </a:custGeom>
                  <a:solidFill>
                    <a:schemeClr val="accent2">
                      <a:lumMod val="60000"/>
                      <a:lumOff val="40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5" name="Freeform 284" descr="© INSCALE GmbH, 21.06.2010"/>
                  <p:cNvSpPr>
                    <a:spLocks noChangeAspect="1"/>
                  </p:cNvSpPr>
                  <p:nvPr/>
                </p:nvSpPr>
                <p:spPr bwMode="auto">
                  <a:xfrm>
                    <a:off x="3015589" y="4141222"/>
                    <a:ext cx="212238" cy="206689"/>
                  </a:xfrm>
                  <a:custGeom>
                    <a:avLst/>
                    <a:gdLst>
                      <a:gd name="T0" fmla="*/ 2147483646 w 222"/>
                      <a:gd name="T1" fmla="*/ 2147483646 h 216"/>
                      <a:gd name="T2" fmla="*/ 2147483646 w 222"/>
                      <a:gd name="T3" fmla="*/ 2147483646 h 216"/>
                      <a:gd name="T4" fmla="*/ 2147483646 w 222"/>
                      <a:gd name="T5" fmla="*/ 2147483646 h 216"/>
                      <a:gd name="T6" fmla="*/ 2147483646 w 222"/>
                      <a:gd name="T7" fmla="*/ 2147483646 h 216"/>
                      <a:gd name="T8" fmla="*/ 2147483646 w 222"/>
                      <a:gd name="T9" fmla="*/ 2147483646 h 216"/>
                      <a:gd name="T10" fmla="*/ 2147483646 w 222"/>
                      <a:gd name="T11" fmla="*/ 2147483646 h 216"/>
                      <a:gd name="T12" fmla="*/ 2147483646 w 222"/>
                      <a:gd name="T13" fmla="*/ 2147483646 h 216"/>
                      <a:gd name="T14" fmla="*/ 2147483646 w 222"/>
                      <a:gd name="T15" fmla="*/ 2147483646 h 216"/>
                      <a:gd name="T16" fmla="*/ 2147483646 w 222"/>
                      <a:gd name="T17" fmla="*/ 2147483646 h 216"/>
                      <a:gd name="T18" fmla="*/ 2147483646 w 222"/>
                      <a:gd name="T19" fmla="*/ 2147483646 h 216"/>
                      <a:gd name="T20" fmla="*/ 2147483646 w 222"/>
                      <a:gd name="T21" fmla="*/ 2147483646 h 216"/>
                      <a:gd name="T22" fmla="*/ 2147483646 w 222"/>
                      <a:gd name="T23" fmla="*/ 2147483646 h 216"/>
                      <a:gd name="T24" fmla="*/ 2147483646 w 222"/>
                      <a:gd name="T25" fmla="*/ 2147483646 h 216"/>
                      <a:gd name="T26" fmla="*/ 2147483646 w 222"/>
                      <a:gd name="T27" fmla="*/ 2147483646 h 216"/>
                      <a:gd name="T28" fmla="*/ 2147483646 w 222"/>
                      <a:gd name="T29" fmla="*/ 2147483646 h 216"/>
                      <a:gd name="T30" fmla="*/ 2147483646 w 222"/>
                      <a:gd name="T31" fmla="*/ 2147483646 h 216"/>
                      <a:gd name="T32" fmla="*/ 2147483646 w 222"/>
                      <a:gd name="T33" fmla="*/ 2147483646 h 216"/>
                      <a:gd name="T34" fmla="*/ 2147483646 w 222"/>
                      <a:gd name="T35" fmla="*/ 2147483646 h 216"/>
                      <a:gd name="T36" fmla="*/ 2147483646 w 222"/>
                      <a:gd name="T37" fmla="*/ 2147483646 h 216"/>
                      <a:gd name="T38" fmla="*/ 2147483646 w 222"/>
                      <a:gd name="T39" fmla="*/ 2147483646 h 216"/>
                      <a:gd name="T40" fmla="*/ 2147483646 w 222"/>
                      <a:gd name="T41" fmla="*/ 2147483646 h 216"/>
                      <a:gd name="T42" fmla="*/ 2147483646 w 222"/>
                      <a:gd name="T43" fmla="*/ 2147483646 h 216"/>
                      <a:gd name="T44" fmla="*/ 2147483646 w 222"/>
                      <a:gd name="T45" fmla="*/ 2147483646 h 216"/>
                      <a:gd name="T46" fmla="*/ 2147483646 w 222"/>
                      <a:gd name="T47" fmla="*/ 2147483646 h 216"/>
                      <a:gd name="T48" fmla="*/ 2147483646 w 222"/>
                      <a:gd name="T49" fmla="*/ 2147483646 h 216"/>
                      <a:gd name="T50" fmla="*/ 2147483646 w 222"/>
                      <a:gd name="T51" fmla="*/ 2147483646 h 216"/>
                      <a:gd name="T52" fmla="*/ 2147483646 w 222"/>
                      <a:gd name="T53" fmla="*/ 2147483646 h 216"/>
                      <a:gd name="T54" fmla="*/ 2147483646 w 222"/>
                      <a:gd name="T55" fmla="*/ 2147483646 h 216"/>
                      <a:gd name="T56" fmla="*/ 2147483646 w 222"/>
                      <a:gd name="T57" fmla="*/ 2147483646 h 216"/>
                      <a:gd name="T58" fmla="*/ 2147483646 w 222"/>
                      <a:gd name="T59" fmla="*/ 2147483646 h 216"/>
                      <a:gd name="T60" fmla="*/ 2147483646 w 222"/>
                      <a:gd name="T61" fmla="*/ 2147483646 h 216"/>
                      <a:gd name="T62" fmla="*/ 2147483646 w 222"/>
                      <a:gd name="T63" fmla="*/ 2147483646 h 216"/>
                      <a:gd name="T64" fmla="*/ 2147483646 w 222"/>
                      <a:gd name="T65" fmla="*/ 2147483646 h 216"/>
                      <a:gd name="T66" fmla="*/ 2147483646 w 222"/>
                      <a:gd name="T67" fmla="*/ 2147483646 h 216"/>
                      <a:gd name="T68" fmla="*/ 2147483646 w 222"/>
                      <a:gd name="T69" fmla="*/ 2147483646 h 216"/>
                      <a:gd name="T70" fmla="*/ 2147483646 w 222"/>
                      <a:gd name="T71" fmla="*/ 2147483646 h 216"/>
                      <a:gd name="T72" fmla="*/ 2147483646 w 222"/>
                      <a:gd name="T73" fmla="*/ 2147483646 h 216"/>
                      <a:gd name="T74" fmla="*/ 2147483646 w 222"/>
                      <a:gd name="T75" fmla="*/ 2147483646 h 216"/>
                      <a:gd name="T76" fmla="*/ 2147483646 w 222"/>
                      <a:gd name="T77" fmla="*/ 2147483646 h 216"/>
                      <a:gd name="T78" fmla="*/ 2147483646 w 222"/>
                      <a:gd name="T79" fmla="*/ 2147483646 h 216"/>
                      <a:gd name="T80" fmla="*/ 2147483646 w 222"/>
                      <a:gd name="T81" fmla="*/ 2147483646 h 216"/>
                      <a:gd name="T82" fmla="*/ 2147483646 w 222"/>
                      <a:gd name="T83" fmla="*/ 2147483646 h 216"/>
                      <a:gd name="T84" fmla="*/ 2147483646 w 222"/>
                      <a:gd name="T85" fmla="*/ 2147483646 h 216"/>
                      <a:gd name="T86" fmla="*/ 2147483646 w 222"/>
                      <a:gd name="T87" fmla="*/ 2147483646 h 216"/>
                      <a:gd name="T88" fmla="*/ 2147483646 w 222"/>
                      <a:gd name="T89" fmla="*/ 2147483646 h 216"/>
                      <a:gd name="T90" fmla="*/ 2147483646 w 222"/>
                      <a:gd name="T91" fmla="*/ 2147483646 h 216"/>
                      <a:gd name="T92" fmla="*/ 2147483646 w 222"/>
                      <a:gd name="T93" fmla="*/ 2147483646 h 216"/>
                      <a:gd name="T94" fmla="*/ 2147483646 w 222"/>
                      <a:gd name="T95" fmla="*/ 2147483646 h 216"/>
                      <a:gd name="T96" fmla="*/ 2147483646 w 222"/>
                      <a:gd name="T97" fmla="*/ 2147483646 h 216"/>
                      <a:gd name="T98" fmla="*/ 2147483646 w 222"/>
                      <a:gd name="T99" fmla="*/ 2147483646 h 216"/>
                      <a:gd name="T100" fmla="*/ 2147483646 w 222"/>
                      <a:gd name="T101" fmla="*/ 2147483646 h 216"/>
                      <a:gd name="T102" fmla="*/ 2147483646 w 222"/>
                      <a:gd name="T103" fmla="*/ 2147483646 h 216"/>
                      <a:gd name="T104" fmla="*/ 2147483646 w 222"/>
                      <a:gd name="T105" fmla="*/ 2147483646 h 216"/>
                      <a:gd name="T106" fmla="*/ 2147483646 w 222"/>
                      <a:gd name="T107" fmla="*/ 2147483646 h 216"/>
                      <a:gd name="T108" fmla="*/ 2147483646 w 222"/>
                      <a:gd name="T109" fmla="*/ 2147483646 h 216"/>
                      <a:gd name="T110" fmla="*/ 2147483646 w 222"/>
                      <a:gd name="T111" fmla="*/ 2147483646 h 216"/>
                      <a:gd name="T112" fmla="*/ 2147483646 w 222"/>
                      <a:gd name="T113" fmla="*/ 2147483646 h 216"/>
                      <a:gd name="T114" fmla="*/ 2147483646 w 222"/>
                      <a:gd name="T115" fmla="*/ 2147483646 h 216"/>
                      <a:gd name="T116" fmla="*/ 2147483646 w 222"/>
                      <a:gd name="T117" fmla="*/ 2147483646 h 216"/>
                      <a:gd name="T118" fmla="*/ 2147483646 w 222"/>
                      <a:gd name="T119" fmla="*/ 2147483646 h 2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2"/>
                      <a:gd name="T181" fmla="*/ 0 h 216"/>
                      <a:gd name="T182" fmla="*/ 222 w 222"/>
                      <a:gd name="T183" fmla="*/ 216 h 2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2" h="216">
                        <a:moveTo>
                          <a:pt x="28" y="0"/>
                        </a:moveTo>
                        <a:lnTo>
                          <a:pt x="40" y="5"/>
                        </a:lnTo>
                        <a:lnTo>
                          <a:pt x="40" y="6"/>
                        </a:lnTo>
                        <a:lnTo>
                          <a:pt x="38" y="8"/>
                        </a:lnTo>
                        <a:lnTo>
                          <a:pt x="38" y="13"/>
                        </a:lnTo>
                        <a:lnTo>
                          <a:pt x="41" y="16"/>
                        </a:lnTo>
                        <a:lnTo>
                          <a:pt x="44" y="18"/>
                        </a:lnTo>
                        <a:lnTo>
                          <a:pt x="49" y="22"/>
                        </a:lnTo>
                        <a:lnTo>
                          <a:pt x="52" y="24"/>
                        </a:lnTo>
                        <a:lnTo>
                          <a:pt x="84" y="24"/>
                        </a:lnTo>
                        <a:lnTo>
                          <a:pt x="90" y="25"/>
                        </a:lnTo>
                        <a:lnTo>
                          <a:pt x="99" y="28"/>
                        </a:lnTo>
                        <a:lnTo>
                          <a:pt x="102" y="28"/>
                        </a:lnTo>
                        <a:lnTo>
                          <a:pt x="103" y="25"/>
                        </a:lnTo>
                        <a:lnTo>
                          <a:pt x="105" y="24"/>
                        </a:lnTo>
                        <a:lnTo>
                          <a:pt x="106" y="21"/>
                        </a:lnTo>
                        <a:lnTo>
                          <a:pt x="109" y="18"/>
                        </a:lnTo>
                        <a:lnTo>
                          <a:pt x="112" y="16"/>
                        </a:lnTo>
                        <a:lnTo>
                          <a:pt x="117" y="15"/>
                        </a:lnTo>
                        <a:lnTo>
                          <a:pt x="120" y="13"/>
                        </a:lnTo>
                        <a:lnTo>
                          <a:pt x="123" y="13"/>
                        </a:lnTo>
                        <a:lnTo>
                          <a:pt x="118" y="0"/>
                        </a:lnTo>
                        <a:lnTo>
                          <a:pt x="126" y="0"/>
                        </a:lnTo>
                        <a:lnTo>
                          <a:pt x="136" y="16"/>
                        </a:lnTo>
                        <a:lnTo>
                          <a:pt x="143" y="16"/>
                        </a:lnTo>
                        <a:lnTo>
                          <a:pt x="148" y="21"/>
                        </a:lnTo>
                        <a:lnTo>
                          <a:pt x="151" y="21"/>
                        </a:lnTo>
                        <a:lnTo>
                          <a:pt x="151" y="24"/>
                        </a:lnTo>
                        <a:lnTo>
                          <a:pt x="148" y="30"/>
                        </a:lnTo>
                        <a:lnTo>
                          <a:pt x="149" y="33"/>
                        </a:lnTo>
                        <a:lnTo>
                          <a:pt x="151" y="34"/>
                        </a:lnTo>
                        <a:lnTo>
                          <a:pt x="151" y="40"/>
                        </a:lnTo>
                        <a:lnTo>
                          <a:pt x="149" y="40"/>
                        </a:lnTo>
                        <a:lnTo>
                          <a:pt x="149" y="43"/>
                        </a:lnTo>
                        <a:lnTo>
                          <a:pt x="151" y="44"/>
                        </a:lnTo>
                        <a:lnTo>
                          <a:pt x="152" y="47"/>
                        </a:lnTo>
                        <a:lnTo>
                          <a:pt x="145" y="55"/>
                        </a:lnTo>
                        <a:lnTo>
                          <a:pt x="143" y="58"/>
                        </a:lnTo>
                        <a:lnTo>
                          <a:pt x="143" y="67"/>
                        </a:lnTo>
                        <a:lnTo>
                          <a:pt x="139" y="71"/>
                        </a:lnTo>
                        <a:lnTo>
                          <a:pt x="139" y="80"/>
                        </a:lnTo>
                        <a:lnTo>
                          <a:pt x="140" y="83"/>
                        </a:lnTo>
                        <a:lnTo>
                          <a:pt x="142" y="83"/>
                        </a:lnTo>
                        <a:lnTo>
                          <a:pt x="145" y="84"/>
                        </a:lnTo>
                        <a:lnTo>
                          <a:pt x="146" y="84"/>
                        </a:lnTo>
                        <a:lnTo>
                          <a:pt x="148" y="86"/>
                        </a:lnTo>
                        <a:lnTo>
                          <a:pt x="148" y="87"/>
                        </a:lnTo>
                        <a:lnTo>
                          <a:pt x="149" y="90"/>
                        </a:lnTo>
                        <a:lnTo>
                          <a:pt x="149" y="93"/>
                        </a:lnTo>
                        <a:lnTo>
                          <a:pt x="151" y="96"/>
                        </a:lnTo>
                        <a:lnTo>
                          <a:pt x="155" y="101"/>
                        </a:lnTo>
                        <a:lnTo>
                          <a:pt x="158" y="101"/>
                        </a:lnTo>
                        <a:lnTo>
                          <a:pt x="164" y="98"/>
                        </a:lnTo>
                        <a:lnTo>
                          <a:pt x="169" y="102"/>
                        </a:lnTo>
                        <a:lnTo>
                          <a:pt x="171" y="102"/>
                        </a:lnTo>
                        <a:lnTo>
                          <a:pt x="177" y="105"/>
                        </a:lnTo>
                        <a:lnTo>
                          <a:pt x="179" y="107"/>
                        </a:lnTo>
                        <a:lnTo>
                          <a:pt x="180" y="107"/>
                        </a:lnTo>
                        <a:lnTo>
                          <a:pt x="180" y="111"/>
                        </a:lnTo>
                        <a:lnTo>
                          <a:pt x="179" y="114"/>
                        </a:lnTo>
                        <a:lnTo>
                          <a:pt x="179" y="133"/>
                        </a:lnTo>
                        <a:lnTo>
                          <a:pt x="180" y="135"/>
                        </a:lnTo>
                        <a:lnTo>
                          <a:pt x="182" y="138"/>
                        </a:lnTo>
                        <a:lnTo>
                          <a:pt x="185" y="141"/>
                        </a:lnTo>
                        <a:lnTo>
                          <a:pt x="189" y="141"/>
                        </a:lnTo>
                        <a:lnTo>
                          <a:pt x="191" y="139"/>
                        </a:lnTo>
                        <a:lnTo>
                          <a:pt x="192" y="139"/>
                        </a:lnTo>
                        <a:lnTo>
                          <a:pt x="192" y="141"/>
                        </a:lnTo>
                        <a:lnTo>
                          <a:pt x="194" y="142"/>
                        </a:lnTo>
                        <a:lnTo>
                          <a:pt x="206" y="142"/>
                        </a:lnTo>
                        <a:lnTo>
                          <a:pt x="207" y="148"/>
                        </a:lnTo>
                        <a:lnTo>
                          <a:pt x="208" y="148"/>
                        </a:lnTo>
                        <a:lnTo>
                          <a:pt x="210" y="149"/>
                        </a:lnTo>
                        <a:lnTo>
                          <a:pt x="214" y="152"/>
                        </a:lnTo>
                        <a:lnTo>
                          <a:pt x="219" y="154"/>
                        </a:lnTo>
                        <a:lnTo>
                          <a:pt x="222" y="155"/>
                        </a:lnTo>
                        <a:lnTo>
                          <a:pt x="222" y="167"/>
                        </a:lnTo>
                        <a:lnTo>
                          <a:pt x="220" y="169"/>
                        </a:lnTo>
                        <a:lnTo>
                          <a:pt x="217" y="169"/>
                        </a:lnTo>
                        <a:lnTo>
                          <a:pt x="214" y="170"/>
                        </a:lnTo>
                        <a:lnTo>
                          <a:pt x="207" y="170"/>
                        </a:lnTo>
                        <a:lnTo>
                          <a:pt x="206" y="169"/>
                        </a:lnTo>
                        <a:lnTo>
                          <a:pt x="203" y="167"/>
                        </a:lnTo>
                        <a:lnTo>
                          <a:pt x="198" y="166"/>
                        </a:lnTo>
                        <a:lnTo>
                          <a:pt x="192" y="164"/>
                        </a:lnTo>
                        <a:lnTo>
                          <a:pt x="183" y="164"/>
                        </a:lnTo>
                        <a:lnTo>
                          <a:pt x="177" y="166"/>
                        </a:lnTo>
                        <a:lnTo>
                          <a:pt x="169" y="169"/>
                        </a:lnTo>
                        <a:lnTo>
                          <a:pt x="161" y="172"/>
                        </a:lnTo>
                        <a:lnTo>
                          <a:pt x="158" y="173"/>
                        </a:lnTo>
                        <a:lnTo>
                          <a:pt x="155" y="176"/>
                        </a:lnTo>
                        <a:lnTo>
                          <a:pt x="152" y="173"/>
                        </a:lnTo>
                        <a:lnTo>
                          <a:pt x="149" y="173"/>
                        </a:lnTo>
                        <a:lnTo>
                          <a:pt x="148" y="175"/>
                        </a:lnTo>
                        <a:lnTo>
                          <a:pt x="148" y="181"/>
                        </a:lnTo>
                        <a:lnTo>
                          <a:pt x="146" y="182"/>
                        </a:lnTo>
                        <a:lnTo>
                          <a:pt x="146" y="188"/>
                        </a:lnTo>
                        <a:lnTo>
                          <a:pt x="143" y="188"/>
                        </a:lnTo>
                        <a:lnTo>
                          <a:pt x="139" y="189"/>
                        </a:lnTo>
                        <a:lnTo>
                          <a:pt x="136" y="189"/>
                        </a:lnTo>
                        <a:lnTo>
                          <a:pt x="117" y="216"/>
                        </a:lnTo>
                        <a:lnTo>
                          <a:pt x="114" y="213"/>
                        </a:lnTo>
                        <a:lnTo>
                          <a:pt x="102" y="207"/>
                        </a:lnTo>
                        <a:lnTo>
                          <a:pt x="99" y="207"/>
                        </a:lnTo>
                        <a:lnTo>
                          <a:pt x="98" y="206"/>
                        </a:lnTo>
                        <a:lnTo>
                          <a:pt x="95" y="206"/>
                        </a:lnTo>
                        <a:lnTo>
                          <a:pt x="93" y="204"/>
                        </a:lnTo>
                        <a:lnTo>
                          <a:pt x="93" y="203"/>
                        </a:lnTo>
                        <a:lnTo>
                          <a:pt x="99" y="197"/>
                        </a:lnTo>
                        <a:lnTo>
                          <a:pt x="98" y="194"/>
                        </a:lnTo>
                        <a:lnTo>
                          <a:pt x="86" y="191"/>
                        </a:lnTo>
                        <a:lnTo>
                          <a:pt x="81" y="181"/>
                        </a:lnTo>
                        <a:lnTo>
                          <a:pt x="84" y="181"/>
                        </a:lnTo>
                        <a:lnTo>
                          <a:pt x="89" y="176"/>
                        </a:lnTo>
                        <a:lnTo>
                          <a:pt x="89" y="175"/>
                        </a:lnTo>
                        <a:lnTo>
                          <a:pt x="90" y="173"/>
                        </a:lnTo>
                        <a:lnTo>
                          <a:pt x="93" y="172"/>
                        </a:lnTo>
                        <a:lnTo>
                          <a:pt x="95" y="169"/>
                        </a:lnTo>
                        <a:lnTo>
                          <a:pt x="95" y="161"/>
                        </a:lnTo>
                        <a:lnTo>
                          <a:pt x="96" y="158"/>
                        </a:lnTo>
                        <a:lnTo>
                          <a:pt x="96" y="148"/>
                        </a:lnTo>
                        <a:lnTo>
                          <a:pt x="93" y="145"/>
                        </a:lnTo>
                        <a:lnTo>
                          <a:pt x="92" y="142"/>
                        </a:lnTo>
                        <a:lnTo>
                          <a:pt x="90" y="141"/>
                        </a:lnTo>
                        <a:lnTo>
                          <a:pt x="86" y="141"/>
                        </a:lnTo>
                        <a:lnTo>
                          <a:pt x="84" y="142"/>
                        </a:lnTo>
                        <a:lnTo>
                          <a:pt x="81" y="144"/>
                        </a:lnTo>
                        <a:lnTo>
                          <a:pt x="80" y="144"/>
                        </a:lnTo>
                        <a:lnTo>
                          <a:pt x="78" y="142"/>
                        </a:lnTo>
                        <a:lnTo>
                          <a:pt x="75" y="142"/>
                        </a:lnTo>
                        <a:lnTo>
                          <a:pt x="72" y="141"/>
                        </a:lnTo>
                        <a:lnTo>
                          <a:pt x="71" y="141"/>
                        </a:lnTo>
                        <a:lnTo>
                          <a:pt x="65" y="144"/>
                        </a:lnTo>
                        <a:lnTo>
                          <a:pt x="61" y="145"/>
                        </a:lnTo>
                        <a:lnTo>
                          <a:pt x="58" y="145"/>
                        </a:lnTo>
                        <a:lnTo>
                          <a:pt x="55" y="144"/>
                        </a:lnTo>
                        <a:lnTo>
                          <a:pt x="53" y="142"/>
                        </a:lnTo>
                        <a:lnTo>
                          <a:pt x="49" y="133"/>
                        </a:lnTo>
                        <a:lnTo>
                          <a:pt x="47" y="132"/>
                        </a:lnTo>
                        <a:lnTo>
                          <a:pt x="44" y="132"/>
                        </a:lnTo>
                        <a:lnTo>
                          <a:pt x="41" y="130"/>
                        </a:lnTo>
                        <a:lnTo>
                          <a:pt x="37" y="130"/>
                        </a:lnTo>
                        <a:lnTo>
                          <a:pt x="34" y="129"/>
                        </a:lnTo>
                        <a:lnTo>
                          <a:pt x="31" y="129"/>
                        </a:lnTo>
                        <a:lnTo>
                          <a:pt x="35" y="127"/>
                        </a:lnTo>
                        <a:lnTo>
                          <a:pt x="35" y="105"/>
                        </a:lnTo>
                        <a:lnTo>
                          <a:pt x="34" y="104"/>
                        </a:lnTo>
                        <a:lnTo>
                          <a:pt x="28" y="101"/>
                        </a:lnTo>
                        <a:lnTo>
                          <a:pt x="22" y="101"/>
                        </a:lnTo>
                        <a:lnTo>
                          <a:pt x="22" y="93"/>
                        </a:lnTo>
                        <a:lnTo>
                          <a:pt x="24" y="89"/>
                        </a:lnTo>
                        <a:lnTo>
                          <a:pt x="24" y="79"/>
                        </a:lnTo>
                        <a:lnTo>
                          <a:pt x="19" y="79"/>
                        </a:lnTo>
                        <a:lnTo>
                          <a:pt x="18" y="77"/>
                        </a:lnTo>
                        <a:lnTo>
                          <a:pt x="16" y="77"/>
                        </a:lnTo>
                        <a:lnTo>
                          <a:pt x="15" y="76"/>
                        </a:lnTo>
                        <a:lnTo>
                          <a:pt x="15" y="74"/>
                        </a:lnTo>
                        <a:lnTo>
                          <a:pt x="13" y="71"/>
                        </a:lnTo>
                        <a:lnTo>
                          <a:pt x="13" y="68"/>
                        </a:lnTo>
                        <a:lnTo>
                          <a:pt x="12" y="67"/>
                        </a:lnTo>
                        <a:lnTo>
                          <a:pt x="10" y="64"/>
                        </a:lnTo>
                        <a:lnTo>
                          <a:pt x="9" y="62"/>
                        </a:lnTo>
                        <a:lnTo>
                          <a:pt x="9" y="59"/>
                        </a:lnTo>
                        <a:lnTo>
                          <a:pt x="10" y="56"/>
                        </a:lnTo>
                        <a:lnTo>
                          <a:pt x="12" y="55"/>
                        </a:lnTo>
                        <a:lnTo>
                          <a:pt x="15" y="49"/>
                        </a:lnTo>
                        <a:lnTo>
                          <a:pt x="15" y="47"/>
                        </a:lnTo>
                        <a:lnTo>
                          <a:pt x="13" y="46"/>
                        </a:lnTo>
                        <a:lnTo>
                          <a:pt x="10" y="44"/>
                        </a:lnTo>
                        <a:lnTo>
                          <a:pt x="9" y="43"/>
                        </a:lnTo>
                        <a:lnTo>
                          <a:pt x="6" y="43"/>
                        </a:lnTo>
                        <a:lnTo>
                          <a:pt x="4" y="40"/>
                        </a:lnTo>
                        <a:lnTo>
                          <a:pt x="3" y="39"/>
                        </a:lnTo>
                        <a:lnTo>
                          <a:pt x="1" y="36"/>
                        </a:lnTo>
                        <a:lnTo>
                          <a:pt x="0" y="34"/>
                        </a:lnTo>
                        <a:lnTo>
                          <a:pt x="0" y="31"/>
                        </a:lnTo>
                        <a:lnTo>
                          <a:pt x="1" y="30"/>
                        </a:lnTo>
                        <a:lnTo>
                          <a:pt x="3" y="27"/>
                        </a:lnTo>
                        <a:lnTo>
                          <a:pt x="0" y="21"/>
                        </a:lnTo>
                        <a:lnTo>
                          <a:pt x="10" y="10"/>
                        </a:lnTo>
                        <a:lnTo>
                          <a:pt x="28"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6" name="Freeform 285" descr="© INSCALE GmbH, 21.06.2010"/>
                  <p:cNvSpPr>
                    <a:spLocks noChangeAspect="1"/>
                  </p:cNvSpPr>
                  <p:nvPr/>
                </p:nvSpPr>
                <p:spPr bwMode="auto">
                  <a:xfrm>
                    <a:off x="3134887" y="4127350"/>
                    <a:ext cx="145653" cy="155364"/>
                  </a:xfrm>
                  <a:custGeom>
                    <a:avLst/>
                    <a:gdLst>
                      <a:gd name="T0" fmla="*/ 2147483646 w 151"/>
                      <a:gd name="T1" fmla="*/ 0 h 161"/>
                      <a:gd name="T2" fmla="*/ 2147483646 w 151"/>
                      <a:gd name="T3" fmla="*/ 2147483646 h 161"/>
                      <a:gd name="T4" fmla="*/ 2147483646 w 151"/>
                      <a:gd name="T5" fmla="*/ 2147483646 h 161"/>
                      <a:gd name="T6" fmla="*/ 2147483646 w 151"/>
                      <a:gd name="T7" fmla="*/ 2147483646 h 161"/>
                      <a:gd name="T8" fmla="*/ 2147483646 w 151"/>
                      <a:gd name="T9" fmla="*/ 2147483646 h 161"/>
                      <a:gd name="T10" fmla="*/ 2147483646 w 151"/>
                      <a:gd name="T11" fmla="*/ 2147483646 h 161"/>
                      <a:gd name="T12" fmla="*/ 2147483646 w 151"/>
                      <a:gd name="T13" fmla="*/ 2147483646 h 161"/>
                      <a:gd name="T14" fmla="*/ 2147483646 w 151"/>
                      <a:gd name="T15" fmla="*/ 2147483646 h 161"/>
                      <a:gd name="T16" fmla="*/ 2147483646 w 151"/>
                      <a:gd name="T17" fmla="*/ 2147483646 h 161"/>
                      <a:gd name="T18" fmla="*/ 2147483646 w 151"/>
                      <a:gd name="T19" fmla="*/ 2147483646 h 161"/>
                      <a:gd name="T20" fmla="*/ 2147483646 w 151"/>
                      <a:gd name="T21" fmla="*/ 2147483646 h 161"/>
                      <a:gd name="T22" fmla="*/ 2147483646 w 151"/>
                      <a:gd name="T23" fmla="*/ 2147483646 h 161"/>
                      <a:gd name="T24" fmla="*/ 2147483646 w 151"/>
                      <a:gd name="T25" fmla="*/ 2147483646 h 161"/>
                      <a:gd name="T26" fmla="*/ 2147483646 w 151"/>
                      <a:gd name="T27" fmla="*/ 2147483646 h 161"/>
                      <a:gd name="T28" fmla="*/ 2147483646 w 151"/>
                      <a:gd name="T29" fmla="*/ 2147483646 h 161"/>
                      <a:gd name="T30" fmla="*/ 2147483646 w 151"/>
                      <a:gd name="T31" fmla="*/ 2147483646 h 161"/>
                      <a:gd name="T32" fmla="*/ 2147483646 w 151"/>
                      <a:gd name="T33" fmla="*/ 2147483646 h 161"/>
                      <a:gd name="T34" fmla="*/ 2147483646 w 151"/>
                      <a:gd name="T35" fmla="*/ 2147483646 h 161"/>
                      <a:gd name="T36" fmla="*/ 2147483646 w 151"/>
                      <a:gd name="T37" fmla="*/ 2147483646 h 161"/>
                      <a:gd name="T38" fmla="*/ 2147483646 w 151"/>
                      <a:gd name="T39" fmla="*/ 2147483646 h 161"/>
                      <a:gd name="T40" fmla="*/ 2147483646 w 151"/>
                      <a:gd name="T41" fmla="*/ 2147483646 h 161"/>
                      <a:gd name="T42" fmla="*/ 2147483646 w 151"/>
                      <a:gd name="T43" fmla="*/ 2147483646 h 161"/>
                      <a:gd name="T44" fmla="*/ 2147483646 w 151"/>
                      <a:gd name="T45" fmla="*/ 2147483646 h 161"/>
                      <a:gd name="T46" fmla="*/ 2147483646 w 151"/>
                      <a:gd name="T47" fmla="*/ 2147483646 h 161"/>
                      <a:gd name="T48" fmla="*/ 2147483646 w 151"/>
                      <a:gd name="T49" fmla="*/ 2147483646 h 161"/>
                      <a:gd name="T50" fmla="*/ 2147483646 w 151"/>
                      <a:gd name="T51" fmla="*/ 2147483646 h 161"/>
                      <a:gd name="T52" fmla="*/ 2147483646 w 151"/>
                      <a:gd name="T53" fmla="*/ 2147483646 h 161"/>
                      <a:gd name="T54" fmla="*/ 2147483646 w 151"/>
                      <a:gd name="T55" fmla="*/ 2147483646 h 161"/>
                      <a:gd name="T56" fmla="*/ 2147483646 w 151"/>
                      <a:gd name="T57" fmla="*/ 2147483646 h 161"/>
                      <a:gd name="T58" fmla="*/ 2147483646 w 151"/>
                      <a:gd name="T59" fmla="*/ 2147483646 h 161"/>
                      <a:gd name="T60" fmla="*/ 2147483646 w 151"/>
                      <a:gd name="T61" fmla="*/ 2147483646 h 161"/>
                      <a:gd name="T62" fmla="*/ 2147483646 w 151"/>
                      <a:gd name="T63" fmla="*/ 2147483646 h 161"/>
                      <a:gd name="T64" fmla="*/ 2147483646 w 151"/>
                      <a:gd name="T65" fmla="*/ 2147483646 h 161"/>
                      <a:gd name="T66" fmla="*/ 2147483646 w 151"/>
                      <a:gd name="T67" fmla="*/ 2147483646 h 161"/>
                      <a:gd name="T68" fmla="*/ 2147483646 w 151"/>
                      <a:gd name="T69" fmla="*/ 2147483646 h 161"/>
                      <a:gd name="T70" fmla="*/ 2147483646 w 151"/>
                      <a:gd name="T71" fmla="*/ 2147483646 h 161"/>
                      <a:gd name="T72" fmla="*/ 2147483646 w 151"/>
                      <a:gd name="T73" fmla="*/ 2147483646 h 161"/>
                      <a:gd name="T74" fmla="*/ 2147483646 w 151"/>
                      <a:gd name="T75" fmla="*/ 2147483646 h 161"/>
                      <a:gd name="T76" fmla="*/ 2147483646 w 151"/>
                      <a:gd name="T77" fmla="*/ 2147483646 h 161"/>
                      <a:gd name="T78" fmla="*/ 2147483646 w 151"/>
                      <a:gd name="T79" fmla="*/ 2147483646 h 161"/>
                      <a:gd name="T80" fmla="*/ 2147483646 w 151"/>
                      <a:gd name="T81" fmla="*/ 2147483646 h 161"/>
                      <a:gd name="T82" fmla="*/ 2147483646 w 151"/>
                      <a:gd name="T83" fmla="*/ 2147483646 h 161"/>
                      <a:gd name="T84" fmla="*/ 2147483646 w 151"/>
                      <a:gd name="T85" fmla="*/ 2147483646 h 161"/>
                      <a:gd name="T86" fmla="*/ 2147483646 w 151"/>
                      <a:gd name="T87" fmla="*/ 2147483646 h 161"/>
                      <a:gd name="T88" fmla="*/ 2147483646 w 151"/>
                      <a:gd name="T89" fmla="*/ 2147483646 h 161"/>
                      <a:gd name="T90" fmla="*/ 2147483646 w 151"/>
                      <a:gd name="T91" fmla="*/ 2147483646 h 161"/>
                      <a:gd name="T92" fmla="*/ 2147483646 w 151"/>
                      <a:gd name="T93" fmla="*/ 2147483646 h 161"/>
                      <a:gd name="T94" fmla="*/ 2147483646 w 151"/>
                      <a:gd name="T95" fmla="*/ 2147483646 h 161"/>
                      <a:gd name="T96" fmla="*/ 2147483646 w 151"/>
                      <a:gd name="T97" fmla="*/ 2147483646 h 161"/>
                      <a:gd name="T98" fmla="*/ 2147483646 w 151"/>
                      <a:gd name="T99" fmla="*/ 2147483646 h 161"/>
                      <a:gd name="T100" fmla="*/ 2147483646 w 151"/>
                      <a:gd name="T101" fmla="*/ 2147483646 h 161"/>
                      <a:gd name="T102" fmla="*/ 2147483646 w 151"/>
                      <a:gd name="T103" fmla="*/ 2147483646 h 161"/>
                      <a:gd name="T104" fmla="*/ 2147483646 w 151"/>
                      <a:gd name="T105" fmla="*/ 2147483646 h 161"/>
                      <a:gd name="T106" fmla="*/ 2147483646 w 151"/>
                      <a:gd name="T107" fmla="*/ 2147483646 h 161"/>
                      <a:gd name="T108" fmla="*/ 2147483646 w 151"/>
                      <a:gd name="T109" fmla="*/ 2147483646 h 161"/>
                      <a:gd name="T110" fmla="*/ 2147483646 w 151"/>
                      <a:gd name="T111" fmla="*/ 0 h 1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1"/>
                      <a:gd name="T169" fmla="*/ 0 h 161"/>
                      <a:gd name="T170" fmla="*/ 151 w 151"/>
                      <a:gd name="T171" fmla="*/ 161 h 16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1" h="161">
                        <a:moveTo>
                          <a:pt x="32" y="0"/>
                        </a:moveTo>
                        <a:lnTo>
                          <a:pt x="34" y="0"/>
                        </a:lnTo>
                        <a:lnTo>
                          <a:pt x="34" y="4"/>
                        </a:lnTo>
                        <a:lnTo>
                          <a:pt x="37" y="7"/>
                        </a:lnTo>
                        <a:lnTo>
                          <a:pt x="40" y="9"/>
                        </a:lnTo>
                        <a:lnTo>
                          <a:pt x="44" y="10"/>
                        </a:lnTo>
                        <a:lnTo>
                          <a:pt x="50" y="13"/>
                        </a:lnTo>
                        <a:lnTo>
                          <a:pt x="53" y="13"/>
                        </a:lnTo>
                        <a:lnTo>
                          <a:pt x="56" y="15"/>
                        </a:lnTo>
                        <a:lnTo>
                          <a:pt x="60" y="21"/>
                        </a:lnTo>
                        <a:lnTo>
                          <a:pt x="68" y="26"/>
                        </a:lnTo>
                        <a:lnTo>
                          <a:pt x="74" y="34"/>
                        </a:lnTo>
                        <a:lnTo>
                          <a:pt x="77" y="38"/>
                        </a:lnTo>
                        <a:lnTo>
                          <a:pt x="77" y="41"/>
                        </a:lnTo>
                        <a:lnTo>
                          <a:pt x="78" y="44"/>
                        </a:lnTo>
                        <a:lnTo>
                          <a:pt x="78" y="46"/>
                        </a:lnTo>
                        <a:lnTo>
                          <a:pt x="80" y="47"/>
                        </a:lnTo>
                        <a:lnTo>
                          <a:pt x="84" y="47"/>
                        </a:lnTo>
                        <a:lnTo>
                          <a:pt x="85" y="46"/>
                        </a:lnTo>
                        <a:lnTo>
                          <a:pt x="90" y="43"/>
                        </a:lnTo>
                        <a:lnTo>
                          <a:pt x="91" y="41"/>
                        </a:lnTo>
                        <a:lnTo>
                          <a:pt x="103" y="41"/>
                        </a:lnTo>
                        <a:lnTo>
                          <a:pt x="108" y="43"/>
                        </a:lnTo>
                        <a:lnTo>
                          <a:pt x="115" y="43"/>
                        </a:lnTo>
                        <a:lnTo>
                          <a:pt x="116" y="62"/>
                        </a:lnTo>
                        <a:lnTo>
                          <a:pt x="119" y="63"/>
                        </a:lnTo>
                        <a:lnTo>
                          <a:pt x="121" y="65"/>
                        </a:lnTo>
                        <a:lnTo>
                          <a:pt x="124" y="66"/>
                        </a:lnTo>
                        <a:lnTo>
                          <a:pt x="128" y="71"/>
                        </a:lnTo>
                        <a:lnTo>
                          <a:pt x="128" y="75"/>
                        </a:lnTo>
                        <a:lnTo>
                          <a:pt x="127" y="77"/>
                        </a:lnTo>
                        <a:lnTo>
                          <a:pt x="127" y="80"/>
                        </a:lnTo>
                        <a:lnTo>
                          <a:pt x="124" y="83"/>
                        </a:lnTo>
                        <a:lnTo>
                          <a:pt x="124" y="84"/>
                        </a:lnTo>
                        <a:lnTo>
                          <a:pt x="127" y="87"/>
                        </a:lnTo>
                        <a:lnTo>
                          <a:pt x="130" y="89"/>
                        </a:lnTo>
                        <a:lnTo>
                          <a:pt x="131" y="90"/>
                        </a:lnTo>
                        <a:lnTo>
                          <a:pt x="137" y="93"/>
                        </a:lnTo>
                        <a:lnTo>
                          <a:pt x="140" y="93"/>
                        </a:lnTo>
                        <a:lnTo>
                          <a:pt x="142" y="92"/>
                        </a:lnTo>
                        <a:lnTo>
                          <a:pt x="143" y="92"/>
                        </a:lnTo>
                        <a:lnTo>
                          <a:pt x="142" y="128"/>
                        </a:lnTo>
                        <a:lnTo>
                          <a:pt x="151" y="139"/>
                        </a:lnTo>
                        <a:lnTo>
                          <a:pt x="119" y="161"/>
                        </a:lnTo>
                        <a:lnTo>
                          <a:pt x="108" y="161"/>
                        </a:lnTo>
                        <a:lnTo>
                          <a:pt x="108" y="151"/>
                        </a:lnTo>
                        <a:lnTo>
                          <a:pt x="106" y="151"/>
                        </a:lnTo>
                        <a:lnTo>
                          <a:pt x="105" y="149"/>
                        </a:lnTo>
                        <a:lnTo>
                          <a:pt x="99" y="149"/>
                        </a:lnTo>
                        <a:lnTo>
                          <a:pt x="97" y="151"/>
                        </a:lnTo>
                        <a:lnTo>
                          <a:pt x="91" y="154"/>
                        </a:lnTo>
                        <a:lnTo>
                          <a:pt x="90" y="155"/>
                        </a:lnTo>
                        <a:lnTo>
                          <a:pt x="68" y="155"/>
                        </a:lnTo>
                        <a:lnTo>
                          <a:pt x="66" y="154"/>
                        </a:lnTo>
                        <a:lnTo>
                          <a:pt x="66" y="152"/>
                        </a:lnTo>
                        <a:lnTo>
                          <a:pt x="65" y="152"/>
                        </a:lnTo>
                        <a:lnTo>
                          <a:pt x="63" y="154"/>
                        </a:lnTo>
                        <a:lnTo>
                          <a:pt x="59" y="154"/>
                        </a:lnTo>
                        <a:lnTo>
                          <a:pt x="56" y="151"/>
                        </a:lnTo>
                        <a:lnTo>
                          <a:pt x="54" y="148"/>
                        </a:lnTo>
                        <a:lnTo>
                          <a:pt x="53" y="146"/>
                        </a:lnTo>
                        <a:lnTo>
                          <a:pt x="53" y="127"/>
                        </a:lnTo>
                        <a:lnTo>
                          <a:pt x="54" y="124"/>
                        </a:lnTo>
                        <a:lnTo>
                          <a:pt x="54" y="120"/>
                        </a:lnTo>
                        <a:lnTo>
                          <a:pt x="53" y="120"/>
                        </a:lnTo>
                        <a:lnTo>
                          <a:pt x="51" y="118"/>
                        </a:lnTo>
                        <a:lnTo>
                          <a:pt x="45" y="115"/>
                        </a:lnTo>
                        <a:lnTo>
                          <a:pt x="43" y="115"/>
                        </a:lnTo>
                        <a:lnTo>
                          <a:pt x="38" y="111"/>
                        </a:lnTo>
                        <a:lnTo>
                          <a:pt x="32" y="114"/>
                        </a:lnTo>
                        <a:lnTo>
                          <a:pt x="29" y="114"/>
                        </a:lnTo>
                        <a:lnTo>
                          <a:pt x="25" y="109"/>
                        </a:lnTo>
                        <a:lnTo>
                          <a:pt x="23" y="106"/>
                        </a:lnTo>
                        <a:lnTo>
                          <a:pt x="23" y="103"/>
                        </a:lnTo>
                        <a:lnTo>
                          <a:pt x="22" y="100"/>
                        </a:lnTo>
                        <a:lnTo>
                          <a:pt x="22" y="99"/>
                        </a:lnTo>
                        <a:lnTo>
                          <a:pt x="20" y="97"/>
                        </a:lnTo>
                        <a:lnTo>
                          <a:pt x="19" y="97"/>
                        </a:lnTo>
                        <a:lnTo>
                          <a:pt x="16" y="96"/>
                        </a:lnTo>
                        <a:lnTo>
                          <a:pt x="14" y="96"/>
                        </a:lnTo>
                        <a:lnTo>
                          <a:pt x="13" y="93"/>
                        </a:lnTo>
                        <a:lnTo>
                          <a:pt x="13" y="84"/>
                        </a:lnTo>
                        <a:lnTo>
                          <a:pt x="17" y="80"/>
                        </a:lnTo>
                        <a:lnTo>
                          <a:pt x="17" y="71"/>
                        </a:lnTo>
                        <a:lnTo>
                          <a:pt x="19" y="68"/>
                        </a:lnTo>
                        <a:lnTo>
                          <a:pt x="26" y="60"/>
                        </a:lnTo>
                        <a:lnTo>
                          <a:pt x="25" y="57"/>
                        </a:lnTo>
                        <a:lnTo>
                          <a:pt x="23" y="56"/>
                        </a:lnTo>
                        <a:lnTo>
                          <a:pt x="23" y="53"/>
                        </a:lnTo>
                        <a:lnTo>
                          <a:pt x="25" y="53"/>
                        </a:lnTo>
                        <a:lnTo>
                          <a:pt x="25" y="47"/>
                        </a:lnTo>
                        <a:lnTo>
                          <a:pt x="23" y="46"/>
                        </a:lnTo>
                        <a:lnTo>
                          <a:pt x="22" y="43"/>
                        </a:lnTo>
                        <a:lnTo>
                          <a:pt x="25" y="37"/>
                        </a:lnTo>
                        <a:lnTo>
                          <a:pt x="25" y="34"/>
                        </a:lnTo>
                        <a:lnTo>
                          <a:pt x="22" y="34"/>
                        </a:lnTo>
                        <a:lnTo>
                          <a:pt x="17" y="29"/>
                        </a:lnTo>
                        <a:lnTo>
                          <a:pt x="10" y="29"/>
                        </a:lnTo>
                        <a:lnTo>
                          <a:pt x="0" y="13"/>
                        </a:lnTo>
                        <a:lnTo>
                          <a:pt x="6" y="9"/>
                        </a:lnTo>
                        <a:lnTo>
                          <a:pt x="14" y="21"/>
                        </a:lnTo>
                        <a:lnTo>
                          <a:pt x="17" y="21"/>
                        </a:lnTo>
                        <a:lnTo>
                          <a:pt x="19" y="19"/>
                        </a:lnTo>
                        <a:lnTo>
                          <a:pt x="20" y="16"/>
                        </a:lnTo>
                        <a:lnTo>
                          <a:pt x="22" y="15"/>
                        </a:lnTo>
                        <a:lnTo>
                          <a:pt x="22" y="12"/>
                        </a:lnTo>
                        <a:lnTo>
                          <a:pt x="20" y="10"/>
                        </a:lnTo>
                        <a:lnTo>
                          <a:pt x="20" y="6"/>
                        </a:lnTo>
                        <a:lnTo>
                          <a:pt x="22" y="4"/>
                        </a:lnTo>
                        <a:lnTo>
                          <a:pt x="28" y="1"/>
                        </a:lnTo>
                        <a:lnTo>
                          <a:pt x="31" y="1"/>
                        </a:lnTo>
                        <a:lnTo>
                          <a:pt x="32"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7" name="Freeform 286" descr="© INSCALE GmbH, 21.06.2010"/>
                  <p:cNvSpPr>
                    <a:spLocks noChangeAspect="1"/>
                  </p:cNvSpPr>
                  <p:nvPr/>
                </p:nvSpPr>
                <p:spPr bwMode="auto">
                  <a:xfrm>
                    <a:off x="3383448" y="3904510"/>
                    <a:ext cx="199646" cy="245862"/>
                  </a:xfrm>
                  <a:custGeom>
                    <a:avLst/>
                    <a:gdLst>
                      <a:gd name="T0" fmla="*/ 2147483646 w 209"/>
                      <a:gd name="T1" fmla="*/ 2147483646 h 253"/>
                      <a:gd name="T2" fmla="*/ 2147483646 w 209"/>
                      <a:gd name="T3" fmla="*/ 2147483646 h 253"/>
                      <a:gd name="T4" fmla="*/ 2147483646 w 209"/>
                      <a:gd name="T5" fmla="*/ 2147483646 h 253"/>
                      <a:gd name="T6" fmla="*/ 2147483646 w 209"/>
                      <a:gd name="T7" fmla="*/ 2147483646 h 253"/>
                      <a:gd name="T8" fmla="*/ 2147483646 w 209"/>
                      <a:gd name="T9" fmla="*/ 2147483646 h 253"/>
                      <a:gd name="T10" fmla="*/ 2147483646 w 209"/>
                      <a:gd name="T11" fmla="*/ 2147483646 h 253"/>
                      <a:gd name="T12" fmla="*/ 2147483646 w 209"/>
                      <a:gd name="T13" fmla="*/ 2147483646 h 253"/>
                      <a:gd name="T14" fmla="*/ 2147483646 w 209"/>
                      <a:gd name="T15" fmla="*/ 2147483646 h 253"/>
                      <a:gd name="T16" fmla="*/ 2147483646 w 209"/>
                      <a:gd name="T17" fmla="*/ 2147483646 h 253"/>
                      <a:gd name="T18" fmla="*/ 2147483646 w 209"/>
                      <a:gd name="T19" fmla="*/ 2147483646 h 253"/>
                      <a:gd name="T20" fmla="*/ 2147483646 w 209"/>
                      <a:gd name="T21" fmla="*/ 2147483646 h 253"/>
                      <a:gd name="T22" fmla="*/ 2147483646 w 209"/>
                      <a:gd name="T23" fmla="*/ 2147483646 h 253"/>
                      <a:gd name="T24" fmla="*/ 2147483646 w 209"/>
                      <a:gd name="T25" fmla="*/ 2147483646 h 253"/>
                      <a:gd name="T26" fmla="*/ 2147483646 w 209"/>
                      <a:gd name="T27" fmla="*/ 2147483646 h 253"/>
                      <a:gd name="T28" fmla="*/ 2147483646 w 209"/>
                      <a:gd name="T29" fmla="*/ 2147483646 h 253"/>
                      <a:gd name="T30" fmla="*/ 2147483646 w 209"/>
                      <a:gd name="T31" fmla="*/ 2147483646 h 253"/>
                      <a:gd name="T32" fmla="*/ 2147483646 w 209"/>
                      <a:gd name="T33" fmla="*/ 2147483646 h 253"/>
                      <a:gd name="T34" fmla="*/ 2147483646 w 209"/>
                      <a:gd name="T35" fmla="*/ 2147483646 h 253"/>
                      <a:gd name="T36" fmla="*/ 2147483646 w 209"/>
                      <a:gd name="T37" fmla="*/ 2147483646 h 253"/>
                      <a:gd name="T38" fmla="*/ 2147483646 w 209"/>
                      <a:gd name="T39" fmla="*/ 2147483646 h 253"/>
                      <a:gd name="T40" fmla="*/ 2147483646 w 209"/>
                      <a:gd name="T41" fmla="*/ 2147483646 h 253"/>
                      <a:gd name="T42" fmla="*/ 2147483646 w 209"/>
                      <a:gd name="T43" fmla="*/ 2147483646 h 253"/>
                      <a:gd name="T44" fmla="*/ 2147483646 w 209"/>
                      <a:gd name="T45" fmla="*/ 2147483646 h 253"/>
                      <a:gd name="T46" fmla="*/ 2147483646 w 209"/>
                      <a:gd name="T47" fmla="*/ 2147483646 h 253"/>
                      <a:gd name="T48" fmla="*/ 2147483646 w 209"/>
                      <a:gd name="T49" fmla="*/ 2147483646 h 253"/>
                      <a:gd name="T50" fmla="*/ 2147483646 w 209"/>
                      <a:gd name="T51" fmla="*/ 2147483646 h 253"/>
                      <a:gd name="T52" fmla="*/ 2147483646 w 209"/>
                      <a:gd name="T53" fmla="*/ 2147483646 h 253"/>
                      <a:gd name="T54" fmla="*/ 2147483646 w 209"/>
                      <a:gd name="T55" fmla="*/ 2147483646 h 253"/>
                      <a:gd name="T56" fmla="*/ 2147483646 w 209"/>
                      <a:gd name="T57" fmla="*/ 2147483646 h 253"/>
                      <a:gd name="T58" fmla="*/ 2147483646 w 209"/>
                      <a:gd name="T59" fmla="*/ 2147483646 h 253"/>
                      <a:gd name="T60" fmla="*/ 2147483646 w 209"/>
                      <a:gd name="T61" fmla="*/ 2147483646 h 253"/>
                      <a:gd name="T62" fmla="*/ 2147483646 w 209"/>
                      <a:gd name="T63" fmla="*/ 2147483646 h 253"/>
                      <a:gd name="T64" fmla="*/ 2147483646 w 209"/>
                      <a:gd name="T65" fmla="*/ 2147483646 h 253"/>
                      <a:gd name="T66" fmla="*/ 2147483646 w 209"/>
                      <a:gd name="T67" fmla="*/ 2147483646 h 253"/>
                      <a:gd name="T68" fmla="*/ 2147483646 w 209"/>
                      <a:gd name="T69" fmla="*/ 2147483646 h 253"/>
                      <a:gd name="T70" fmla="*/ 2147483646 w 209"/>
                      <a:gd name="T71" fmla="*/ 2147483646 h 253"/>
                      <a:gd name="T72" fmla="*/ 2147483646 w 209"/>
                      <a:gd name="T73" fmla="*/ 2147483646 h 253"/>
                      <a:gd name="T74" fmla="*/ 2147483646 w 209"/>
                      <a:gd name="T75" fmla="*/ 2147483646 h 253"/>
                      <a:gd name="T76" fmla="*/ 2147483646 w 209"/>
                      <a:gd name="T77" fmla="*/ 2147483646 h 253"/>
                      <a:gd name="T78" fmla="*/ 2147483646 w 209"/>
                      <a:gd name="T79" fmla="*/ 2147483646 h 253"/>
                      <a:gd name="T80" fmla="*/ 2147483646 w 209"/>
                      <a:gd name="T81" fmla="*/ 2147483646 h 253"/>
                      <a:gd name="T82" fmla="*/ 2147483646 w 209"/>
                      <a:gd name="T83" fmla="*/ 2147483646 h 253"/>
                      <a:gd name="T84" fmla="*/ 2147483646 w 209"/>
                      <a:gd name="T85" fmla="*/ 2147483646 h 253"/>
                      <a:gd name="T86" fmla="*/ 2147483646 w 209"/>
                      <a:gd name="T87" fmla="*/ 2147483646 h 253"/>
                      <a:gd name="T88" fmla="*/ 2147483646 w 209"/>
                      <a:gd name="T89" fmla="*/ 2147483646 h 253"/>
                      <a:gd name="T90" fmla="*/ 2147483646 w 209"/>
                      <a:gd name="T91" fmla="*/ 2147483646 h 253"/>
                      <a:gd name="T92" fmla="*/ 2147483646 w 209"/>
                      <a:gd name="T93" fmla="*/ 2147483646 h 253"/>
                      <a:gd name="T94" fmla="*/ 2147483646 w 209"/>
                      <a:gd name="T95" fmla="*/ 2147483646 h 253"/>
                      <a:gd name="T96" fmla="*/ 2147483646 w 209"/>
                      <a:gd name="T97" fmla="*/ 2147483646 h 253"/>
                      <a:gd name="T98" fmla="*/ 2147483646 w 209"/>
                      <a:gd name="T99" fmla="*/ 2147483646 h 253"/>
                      <a:gd name="T100" fmla="*/ 2147483646 w 209"/>
                      <a:gd name="T101" fmla="*/ 2147483646 h 253"/>
                      <a:gd name="T102" fmla="*/ 2147483646 w 209"/>
                      <a:gd name="T103" fmla="*/ 2147483646 h 253"/>
                      <a:gd name="T104" fmla="*/ 2147483646 w 209"/>
                      <a:gd name="T105" fmla="*/ 2147483646 h 253"/>
                      <a:gd name="T106" fmla="*/ 2147483646 w 209"/>
                      <a:gd name="T107" fmla="*/ 2147483646 h 253"/>
                      <a:gd name="T108" fmla="*/ 2147483646 w 209"/>
                      <a:gd name="T109" fmla="*/ 2147483646 h 2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9"/>
                      <a:gd name="T166" fmla="*/ 0 h 253"/>
                      <a:gd name="T167" fmla="*/ 209 w 209"/>
                      <a:gd name="T168" fmla="*/ 253 h 2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9" h="253">
                        <a:moveTo>
                          <a:pt x="166" y="0"/>
                        </a:moveTo>
                        <a:lnTo>
                          <a:pt x="169" y="0"/>
                        </a:lnTo>
                        <a:lnTo>
                          <a:pt x="176" y="9"/>
                        </a:lnTo>
                        <a:lnTo>
                          <a:pt x="176" y="10"/>
                        </a:lnTo>
                        <a:lnTo>
                          <a:pt x="179" y="16"/>
                        </a:lnTo>
                        <a:lnTo>
                          <a:pt x="182" y="20"/>
                        </a:lnTo>
                        <a:lnTo>
                          <a:pt x="185" y="29"/>
                        </a:lnTo>
                        <a:lnTo>
                          <a:pt x="185" y="53"/>
                        </a:lnTo>
                        <a:lnTo>
                          <a:pt x="189" y="63"/>
                        </a:lnTo>
                        <a:lnTo>
                          <a:pt x="189" y="82"/>
                        </a:lnTo>
                        <a:lnTo>
                          <a:pt x="194" y="87"/>
                        </a:lnTo>
                        <a:lnTo>
                          <a:pt x="197" y="88"/>
                        </a:lnTo>
                        <a:lnTo>
                          <a:pt x="200" y="91"/>
                        </a:lnTo>
                        <a:lnTo>
                          <a:pt x="201" y="94"/>
                        </a:lnTo>
                        <a:lnTo>
                          <a:pt x="201" y="97"/>
                        </a:lnTo>
                        <a:lnTo>
                          <a:pt x="200" y="99"/>
                        </a:lnTo>
                        <a:lnTo>
                          <a:pt x="200" y="100"/>
                        </a:lnTo>
                        <a:lnTo>
                          <a:pt x="186" y="106"/>
                        </a:lnTo>
                        <a:lnTo>
                          <a:pt x="192" y="111"/>
                        </a:lnTo>
                        <a:lnTo>
                          <a:pt x="192" y="122"/>
                        </a:lnTo>
                        <a:lnTo>
                          <a:pt x="189" y="124"/>
                        </a:lnTo>
                        <a:lnTo>
                          <a:pt x="188" y="125"/>
                        </a:lnTo>
                        <a:lnTo>
                          <a:pt x="194" y="134"/>
                        </a:lnTo>
                        <a:lnTo>
                          <a:pt x="194" y="137"/>
                        </a:lnTo>
                        <a:lnTo>
                          <a:pt x="191" y="140"/>
                        </a:lnTo>
                        <a:lnTo>
                          <a:pt x="191" y="145"/>
                        </a:lnTo>
                        <a:lnTo>
                          <a:pt x="192" y="146"/>
                        </a:lnTo>
                        <a:lnTo>
                          <a:pt x="197" y="145"/>
                        </a:lnTo>
                        <a:lnTo>
                          <a:pt x="197" y="152"/>
                        </a:lnTo>
                        <a:lnTo>
                          <a:pt x="200" y="152"/>
                        </a:lnTo>
                        <a:lnTo>
                          <a:pt x="201" y="150"/>
                        </a:lnTo>
                        <a:lnTo>
                          <a:pt x="204" y="150"/>
                        </a:lnTo>
                        <a:lnTo>
                          <a:pt x="206" y="153"/>
                        </a:lnTo>
                        <a:lnTo>
                          <a:pt x="206" y="155"/>
                        </a:lnTo>
                        <a:lnTo>
                          <a:pt x="207" y="158"/>
                        </a:lnTo>
                        <a:lnTo>
                          <a:pt x="209" y="159"/>
                        </a:lnTo>
                        <a:lnTo>
                          <a:pt x="209" y="161"/>
                        </a:lnTo>
                        <a:lnTo>
                          <a:pt x="207" y="162"/>
                        </a:lnTo>
                        <a:lnTo>
                          <a:pt x="204" y="164"/>
                        </a:lnTo>
                        <a:lnTo>
                          <a:pt x="203" y="165"/>
                        </a:lnTo>
                        <a:lnTo>
                          <a:pt x="200" y="167"/>
                        </a:lnTo>
                        <a:lnTo>
                          <a:pt x="198" y="167"/>
                        </a:lnTo>
                        <a:lnTo>
                          <a:pt x="198" y="171"/>
                        </a:lnTo>
                        <a:lnTo>
                          <a:pt x="201" y="177"/>
                        </a:lnTo>
                        <a:lnTo>
                          <a:pt x="203" y="182"/>
                        </a:lnTo>
                        <a:lnTo>
                          <a:pt x="204" y="184"/>
                        </a:lnTo>
                        <a:lnTo>
                          <a:pt x="206" y="186"/>
                        </a:lnTo>
                        <a:lnTo>
                          <a:pt x="206" y="189"/>
                        </a:lnTo>
                        <a:lnTo>
                          <a:pt x="197" y="189"/>
                        </a:lnTo>
                        <a:lnTo>
                          <a:pt x="191" y="186"/>
                        </a:lnTo>
                        <a:lnTo>
                          <a:pt x="189" y="184"/>
                        </a:lnTo>
                        <a:lnTo>
                          <a:pt x="188" y="186"/>
                        </a:lnTo>
                        <a:lnTo>
                          <a:pt x="188" y="187"/>
                        </a:lnTo>
                        <a:lnTo>
                          <a:pt x="186" y="192"/>
                        </a:lnTo>
                        <a:lnTo>
                          <a:pt x="186" y="195"/>
                        </a:lnTo>
                        <a:lnTo>
                          <a:pt x="185" y="195"/>
                        </a:lnTo>
                        <a:lnTo>
                          <a:pt x="183" y="193"/>
                        </a:lnTo>
                        <a:lnTo>
                          <a:pt x="179" y="193"/>
                        </a:lnTo>
                        <a:lnTo>
                          <a:pt x="176" y="192"/>
                        </a:lnTo>
                        <a:lnTo>
                          <a:pt x="175" y="192"/>
                        </a:lnTo>
                        <a:lnTo>
                          <a:pt x="172" y="195"/>
                        </a:lnTo>
                        <a:lnTo>
                          <a:pt x="172" y="196"/>
                        </a:lnTo>
                        <a:lnTo>
                          <a:pt x="158" y="196"/>
                        </a:lnTo>
                        <a:lnTo>
                          <a:pt x="148" y="205"/>
                        </a:lnTo>
                        <a:lnTo>
                          <a:pt x="160" y="219"/>
                        </a:lnTo>
                        <a:lnTo>
                          <a:pt x="158" y="221"/>
                        </a:lnTo>
                        <a:lnTo>
                          <a:pt x="157" y="223"/>
                        </a:lnTo>
                        <a:lnTo>
                          <a:pt x="155" y="226"/>
                        </a:lnTo>
                        <a:lnTo>
                          <a:pt x="154" y="227"/>
                        </a:lnTo>
                        <a:lnTo>
                          <a:pt x="154" y="230"/>
                        </a:lnTo>
                        <a:lnTo>
                          <a:pt x="157" y="232"/>
                        </a:lnTo>
                        <a:lnTo>
                          <a:pt x="158" y="235"/>
                        </a:lnTo>
                        <a:lnTo>
                          <a:pt x="158" y="238"/>
                        </a:lnTo>
                        <a:lnTo>
                          <a:pt x="151" y="245"/>
                        </a:lnTo>
                        <a:lnTo>
                          <a:pt x="146" y="247"/>
                        </a:lnTo>
                        <a:lnTo>
                          <a:pt x="144" y="248"/>
                        </a:lnTo>
                        <a:lnTo>
                          <a:pt x="135" y="250"/>
                        </a:lnTo>
                        <a:lnTo>
                          <a:pt x="114" y="250"/>
                        </a:lnTo>
                        <a:lnTo>
                          <a:pt x="104" y="244"/>
                        </a:lnTo>
                        <a:lnTo>
                          <a:pt x="101" y="245"/>
                        </a:lnTo>
                        <a:lnTo>
                          <a:pt x="86" y="251"/>
                        </a:lnTo>
                        <a:lnTo>
                          <a:pt x="80" y="253"/>
                        </a:lnTo>
                        <a:lnTo>
                          <a:pt x="74" y="250"/>
                        </a:lnTo>
                        <a:lnTo>
                          <a:pt x="73" y="247"/>
                        </a:lnTo>
                        <a:lnTo>
                          <a:pt x="70" y="244"/>
                        </a:lnTo>
                        <a:lnTo>
                          <a:pt x="70" y="233"/>
                        </a:lnTo>
                        <a:lnTo>
                          <a:pt x="68" y="233"/>
                        </a:lnTo>
                        <a:lnTo>
                          <a:pt x="67" y="232"/>
                        </a:lnTo>
                        <a:lnTo>
                          <a:pt x="62" y="232"/>
                        </a:lnTo>
                        <a:lnTo>
                          <a:pt x="59" y="230"/>
                        </a:lnTo>
                        <a:lnTo>
                          <a:pt x="55" y="230"/>
                        </a:lnTo>
                        <a:lnTo>
                          <a:pt x="52" y="232"/>
                        </a:lnTo>
                        <a:lnTo>
                          <a:pt x="49" y="232"/>
                        </a:lnTo>
                        <a:lnTo>
                          <a:pt x="46" y="233"/>
                        </a:lnTo>
                        <a:lnTo>
                          <a:pt x="36" y="233"/>
                        </a:lnTo>
                        <a:lnTo>
                          <a:pt x="33" y="232"/>
                        </a:lnTo>
                        <a:lnTo>
                          <a:pt x="30" y="226"/>
                        </a:lnTo>
                        <a:lnTo>
                          <a:pt x="30" y="219"/>
                        </a:lnTo>
                        <a:lnTo>
                          <a:pt x="31" y="217"/>
                        </a:lnTo>
                        <a:lnTo>
                          <a:pt x="31" y="216"/>
                        </a:lnTo>
                        <a:lnTo>
                          <a:pt x="21" y="205"/>
                        </a:lnTo>
                        <a:lnTo>
                          <a:pt x="21" y="190"/>
                        </a:lnTo>
                        <a:lnTo>
                          <a:pt x="13" y="190"/>
                        </a:lnTo>
                        <a:lnTo>
                          <a:pt x="12" y="192"/>
                        </a:lnTo>
                        <a:lnTo>
                          <a:pt x="9" y="192"/>
                        </a:lnTo>
                        <a:lnTo>
                          <a:pt x="4" y="183"/>
                        </a:lnTo>
                        <a:lnTo>
                          <a:pt x="2" y="180"/>
                        </a:lnTo>
                        <a:lnTo>
                          <a:pt x="2" y="176"/>
                        </a:lnTo>
                        <a:lnTo>
                          <a:pt x="0" y="173"/>
                        </a:lnTo>
                        <a:lnTo>
                          <a:pt x="0" y="171"/>
                        </a:lnTo>
                        <a:lnTo>
                          <a:pt x="2" y="168"/>
                        </a:lnTo>
                        <a:lnTo>
                          <a:pt x="2" y="165"/>
                        </a:lnTo>
                        <a:lnTo>
                          <a:pt x="4" y="159"/>
                        </a:lnTo>
                        <a:lnTo>
                          <a:pt x="6" y="158"/>
                        </a:lnTo>
                        <a:lnTo>
                          <a:pt x="6" y="156"/>
                        </a:lnTo>
                        <a:lnTo>
                          <a:pt x="13" y="150"/>
                        </a:lnTo>
                        <a:lnTo>
                          <a:pt x="21" y="150"/>
                        </a:lnTo>
                        <a:lnTo>
                          <a:pt x="24" y="148"/>
                        </a:lnTo>
                        <a:lnTo>
                          <a:pt x="30" y="145"/>
                        </a:lnTo>
                        <a:lnTo>
                          <a:pt x="31" y="143"/>
                        </a:lnTo>
                        <a:lnTo>
                          <a:pt x="33" y="143"/>
                        </a:lnTo>
                        <a:lnTo>
                          <a:pt x="31" y="137"/>
                        </a:lnTo>
                        <a:lnTo>
                          <a:pt x="38" y="128"/>
                        </a:lnTo>
                        <a:lnTo>
                          <a:pt x="46" y="128"/>
                        </a:lnTo>
                        <a:lnTo>
                          <a:pt x="49" y="127"/>
                        </a:lnTo>
                        <a:lnTo>
                          <a:pt x="52" y="127"/>
                        </a:lnTo>
                        <a:lnTo>
                          <a:pt x="55" y="124"/>
                        </a:lnTo>
                        <a:lnTo>
                          <a:pt x="56" y="121"/>
                        </a:lnTo>
                        <a:lnTo>
                          <a:pt x="58" y="116"/>
                        </a:lnTo>
                        <a:lnTo>
                          <a:pt x="64" y="111"/>
                        </a:lnTo>
                        <a:lnTo>
                          <a:pt x="65" y="108"/>
                        </a:lnTo>
                        <a:lnTo>
                          <a:pt x="67" y="103"/>
                        </a:lnTo>
                        <a:lnTo>
                          <a:pt x="67" y="99"/>
                        </a:lnTo>
                        <a:lnTo>
                          <a:pt x="65" y="96"/>
                        </a:lnTo>
                        <a:lnTo>
                          <a:pt x="65" y="88"/>
                        </a:lnTo>
                        <a:lnTo>
                          <a:pt x="67" y="85"/>
                        </a:lnTo>
                        <a:lnTo>
                          <a:pt x="68" y="84"/>
                        </a:lnTo>
                        <a:lnTo>
                          <a:pt x="70" y="81"/>
                        </a:lnTo>
                        <a:lnTo>
                          <a:pt x="73" y="80"/>
                        </a:lnTo>
                        <a:lnTo>
                          <a:pt x="74" y="78"/>
                        </a:lnTo>
                        <a:lnTo>
                          <a:pt x="74" y="77"/>
                        </a:lnTo>
                        <a:lnTo>
                          <a:pt x="71" y="75"/>
                        </a:lnTo>
                        <a:lnTo>
                          <a:pt x="70" y="74"/>
                        </a:lnTo>
                        <a:lnTo>
                          <a:pt x="70" y="50"/>
                        </a:lnTo>
                        <a:lnTo>
                          <a:pt x="74" y="48"/>
                        </a:lnTo>
                        <a:lnTo>
                          <a:pt x="78" y="50"/>
                        </a:lnTo>
                        <a:lnTo>
                          <a:pt x="80" y="48"/>
                        </a:lnTo>
                        <a:lnTo>
                          <a:pt x="81" y="45"/>
                        </a:lnTo>
                        <a:lnTo>
                          <a:pt x="83" y="44"/>
                        </a:lnTo>
                        <a:lnTo>
                          <a:pt x="84" y="41"/>
                        </a:lnTo>
                        <a:lnTo>
                          <a:pt x="86" y="40"/>
                        </a:lnTo>
                        <a:lnTo>
                          <a:pt x="86" y="37"/>
                        </a:lnTo>
                        <a:lnTo>
                          <a:pt x="80" y="31"/>
                        </a:lnTo>
                        <a:lnTo>
                          <a:pt x="86" y="28"/>
                        </a:lnTo>
                        <a:lnTo>
                          <a:pt x="80" y="14"/>
                        </a:lnTo>
                        <a:lnTo>
                          <a:pt x="93" y="7"/>
                        </a:lnTo>
                        <a:lnTo>
                          <a:pt x="96" y="6"/>
                        </a:lnTo>
                        <a:lnTo>
                          <a:pt x="98" y="4"/>
                        </a:lnTo>
                        <a:lnTo>
                          <a:pt x="102" y="3"/>
                        </a:lnTo>
                        <a:lnTo>
                          <a:pt x="105" y="1"/>
                        </a:lnTo>
                        <a:lnTo>
                          <a:pt x="111" y="1"/>
                        </a:lnTo>
                        <a:lnTo>
                          <a:pt x="121" y="3"/>
                        </a:lnTo>
                        <a:lnTo>
                          <a:pt x="133" y="3"/>
                        </a:lnTo>
                        <a:lnTo>
                          <a:pt x="142" y="4"/>
                        </a:lnTo>
                        <a:lnTo>
                          <a:pt x="148" y="4"/>
                        </a:lnTo>
                        <a:lnTo>
                          <a:pt x="157" y="1"/>
                        </a:lnTo>
                        <a:lnTo>
                          <a:pt x="166"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8" name="Freeform 287" descr="© INSCALE GmbH, 21.06.2010"/>
                  <p:cNvSpPr>
                    <a:spLocks noChangeAspect="1"/>
                  </p:cNvSpPr>
                  <p:nvPr/>
                </p:nvSpPr>
                <p:spPr bwMode="auto">
                  <a:xfrm>
                    <a:off x="3259732" y="3553059"/>
                    <a:ext cx="249692" cy="235820"/>
                  </a:xfrm>
                  <a:custGeom>
                    <a:avLst/>
                    <a:gdLst>
                      <a:gd name="T0" fmla="*/ 2147483646 w 264"/>
                      <a:gd name="T1" fmla="*/ 2147483646 h 248"/>
                      <a:gd name="T2" fmla="*/ 2147483646 w 264"/>
                      <a:gd name="T3" fmla="*/ 2147483646 h 248"/>
                      <a:gd name="T4" fmla="*/ 2147483646 w 264"/>
                      <a:gd name="T5" fmla="*/ 2147483646 h 248"/>
                      <a:gd name="T6" fmla="*/ 2147483646 w 264"/>
                      <a:gd name="T7" fmla="*/ 2147483646 h 248"/>
                      <a:gd name="T8" fmla="*/ 2147483646 w 264"/>
                      <a:gd name="T9" fmla="*/ 2147483646 h 248"/>
                      <a:gd name="T10" fmla="*/ 2147483646 w 264"/>
                      <a:gd name="T11" fmla="*/ 2147483646 h 248"/>
                      <a:gd name="T12" fmla="*/ 2147483646 w 264"/>
                      <a:gd name="T13" fmla="*/ 2147483646 h 248"/>
                      <a:gd name="T14" fmla="*/ 2147483646 w 264"/>
                      <a:gd name="T15" fmla="*/ 2147483646 h 248"/>
                      <a:gd name="T16" fmla="*/ 2147483646 w 264"/>
                      <a:gd name="T17" fmla="*/ 2147483646 h 248"/>
                      <a:gd name="T18" fmla="*/ 2147483646 w 264"/>
                      <a:gd name="T19" fmla="*/ 2147483646 h 248"/>
                      <a:gd name="T20" fmla="*/ 2147483646 w 264"/>
                      <a:gd name="T21" fmla="*/ 2147483646 h 248"/>
                      <a:gd name="T22" fmla="*/ 2147483646 w 264"/>
                      <a:gd name="T23" fmla="*/ 2147483646 h 248"/>
                      <a:gd name="T24" fmla="*/ 2147483646 w 264"/>
                      <a:gd name="T25" fmla="*/ 2147483646 h 248"/>
                      <a:gd name="T26" fmla="*/ 2147483646 w 264"/>
                      <a:gd name="T27" fmla="*/ 2147483646 h 248"/>
                      <a:gd name="T28" fmla="*/ 2147483646 w 264"/>
                      <a:gd name="T29" fmla="*/ 2147483646 h 248"/>
                      <a:gd name="T30" fmla="*/ 2147483646 w 264"/>
                      <a:gd name="T31" fmla="*/ 2147483646 h 248"/>
                      <a:gd name="T32" fmla="*/ 2147483646 w 264"/>
                      <a:gd name="T33" fmla="*/ 2147483646 h 248"/>
                      <a:gd name="T34" fmla="*/ 2147483646 w 264"/>
                      <a:gd name="T35" fmla="*/ 2147483646 h 248"/>
                      <a:gd name="T36" fmla="*/ 2147483646 w 264"/>
                      <a:gd name="T37" fmla="*/ 2147483646 h 248"/>
                      <a:gd name="T38" fmla="*/ 2147483646 w 264"/>
                      <a:gd name="T39" fmla="*/ 2147483646 h 248"/>
                      <a:gd name="T40" fmla="*/ 2147483646 w 264"/>
                      <a:gd name="T41" fmla="*/ 2147483646 h 248"/>
                      <a:gd name="T42" fmla="*/ 2147483646 w 264"/>
                      <a:gd name="T43" fmla="*/ 2147483646 h 248"/>
                      <a:gd name="T44" fmla="*/ 2147483646 w 264"/>
                      <a:gd name="T45" fmla="*/ 2147483646 h 248"/>
                      <a:gd name="T46" fmla="*/ 2147483646 w 264"/>
                      <a:gd name="T47" fmla="*/ 2147483646 h 248"/>
                      <a:gd name="T48" fmla="*/ 2147483646 w 264"/>
                      <a:gd name="T49" fmla="*/ 2147483646 h 248"/>
                      <a:gd name="T50" fmla="*/ 2147483646 w 264"/>
                      <a:gd name="T51" fmla="*/ 2147483646 h 248"/>
                      <a:gd name="T52" fmla="*/ 2147483646 w 264"/>
                      <a:gd name="T53" fmla="*/ 2147483646 h 248"/>
                      <a:gd name="T54" fmla="*/ 2147483646 w 264"/>
                      <a:gd name="T55" fmla="*/ 2147483646 h 248"/>
                      <a:gd name="T56" fmla="*/ 2147483646 w 264"/>
                      <a:gd name="T57" fmla="*/ 2147483646 h 248"/>
                      <a:gd name="T58" fmla="*/ 2147483646 w 264"/>
                      <a:gd name="T59" fmla="*/ 2147483646 h 248"/>
                      <a:gd name="T60" fmla="*/ 2147483646 w 264"/>
                      <a:gd name="T61" fmla="*/ 2147483646 h 248"/>
                      <a:gd name="T62" fmla="*/ 2147483646 w 264"/>
                      <a:gd name="T63" fmla="*/ 2147483646 h 248"/>
                      <a:gd name="T64" fmla="*/ 2147483646 w 264"/>
                      <a:gd name="T65" fmla="*/ 2147483646 h 248"/>
                      <a:gd name="T66" fmla="*/ 2147483646 w 264"/>
                      <a:gd name="T67" fmla="*/ 2147483646 h 248"/>
                      <a:gd name="T68" fmla="*/ 2147483646 w 264"/>
                      <a:gd name="T69" fmla="*/ 2147483646 h 248"/>
                      <a:gd name="T70" fmla="*/ 2147483646 w 264"/>
                      <a:gd name="T71" fmla="*/ 2147483646 h 248"/>
                      <a:gd name="T72" fmla="*/ 2147483646 w 264"/>
                      <a:gd name="T73" fmla="*/ 2147483646 h 248"/>
                      <a:gd name="T74" fmla="*/ 2147483646 w 264"/>
                      <a:gd name="T75" fmla="*/ 2147483646 h 248"/>
                      <a:gd name="T76" fmla="*/ 2147483646 w 264"/>
                      <a:gd name="T77" fmla="*/ 2147483646 h 248"/>
                      <a:gd name="T78" fmla="*/ 2147483646 w 264"/>
                      <a:gd name="T79" fmla="*/ 2147483646 h 248"/>
                      <a:gd name="T80" fmla="*/ 2147483646 w 264"/>
                      <a:gd name="T81" fmla="*/ 2147483646 h 248"/>
                      <a:gd name="T82" fmla="*/ 2147483646 w 264"/>
                      <a:gd name="T83" fmla="*/ 2147483646 h 248"/>
                      <a:gd name="T84" fmla="*/ 0 w 264"/>
                      <a:gd name="T85" fmla="*/ 2147483646 h 248"/>
                      <a:gd name="T86" fmla="*/ 2147483646 w 264"/>
                      <a:gd name="T87" fmla="*/ 2147483646 h 248"/>
                      <a:gd name="T88" fmla="*/ 2147483646 w 264"/>
                      <a:gd name="T89" fmla="*/ 2147483646 h 248"/>
                      <a:gd name="T90" fmla="*/ 2147483646 w 264"/>
                      <a:gd name="T91" fmla="*/ 2147483646 h 248"/>
                      <a:gd name="T92" fmla="*/ 2147483646 w 264"/>
                      <a:gd name="T93" fmla="*/ 2147483646 h 248"/>
                      <a:gd name="T94" fmla="*/ 2147483646 w 264"/>
                      <a:gd name="T95" fmla="*/ 2147483646 h 248"/>
                      <a:gd name="T96" fmla="*/ 2147483646 w 264"/>
                      <a:gd name="T97" fmla="*/ 2147483646 h 248"/>
                      <a:gd name="T98" fmla="*/ 2147483646 w 264"/>
                      <a:gd name="T99" fmla="*/ 2147483646 h 248"/>
                      <a:gd name="T100" fmla="*/ 2147483646 w 264"/>
                      <a:gd name="T101" fmla="*/ 2147483646 h 248"/>
                      <a:gd name="T102" fmla="*/ 2147483646 w 264"/>
                      <a:gd name="T103" fmla="*/ 2147483646 h 2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4"/>
                      <a:gd name="T157" fmla="*/ 0 h 248"/>
                      <a:gd name="T158" fmla="*/ 264 w 264"/>
                      <a:gd name="T159" fmla="*/ 248 h 2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4" h="248">
                        <a:moveTo>
                          <a:pt x="95" y="0"/>
                        </a:moveTo>
                        <a:lnTo>
                          <a:pt x="95" y="1"/>
                        </a:lnTo>
                        <a:lnTo>
                          <a:pt x="96" y="3"/>
                        </a:lnTo>
                        <a:lnTo>
                          <a:pt x="98" y="6"/>
                        </a:lnTo>
                        <a:lnTo>
                          <a:pt x="101" y="9"/>
                        </a:lnTo>
                        <a:lnTo>
                          <a:pt x="104" y="10"/>
                        </a:lnTo>
                        <a:lnTo>
                          <a:pt x="113" y="13"/>
                        </a:lnTo>
                        <a:lnTo>
                          <a:pt x="117" y="13"/>
                        </a:lnTo>
                        <a:lnTo>
                          <a:pt x="122" y="16"/>
                        </a:lnTo>
                        <a:lnTo>
                          <a:pt x="125" y="18"/>
                        </a:lnTo>
                        <a:lnTo>
                          <a:pt x="129" y="22"/>
                        </a:lnTo>
                        <a:lnTo>
                          <a:pt x="132" y="21"/>
                        </a:lnTo>
                        <a:lnTo>
                          <a:pt x="132" y="18"/>
                        </a:lnTo>
                        <a:lnTo>
                          <a:pt x="133" y="16"/>
                        </a:lnTo>
                        <a:lnTo>
                          <a:pt x="138" y="16"/>
                        </a:lnTo>
                        <a:lnTo>
                          <a:pt x="139" y="15"/>
                        </a:lnTo>
                        <a:lnTo>
                          <a:pt x="141" y="15"/>
                        </a:lnTo>
                        <a:lnTo>
                          <a:pt x="150" y="22"/>
                        </a:lnTo>
                        <a:lnTo>
                          <a:pt x="150" y="24"/>
                        </a:lnTo>
                        <a:lnTo>
                          <a:pt x="148" y="25"/>
                        </a:lnTo>
                        <a:lnTo>
                          <a:pt x="148" y="35"/>
                        </a:lnTo>
                        <a:lnTo>
                          <a:pt x="156" y="35"/>
                        </a:lnTo>
                        <a:lnTo>
                          <a:pt x="159" y="34"/>
                        </a:lnTo>
                        <a:lnTo>
                          <a:pt x="167" y="40"/>
                        </a:lnTo>
                        <a:lnTo>
                          <a:pt x="179" y="40"/>
                        </a:lnTo>
                        <a:lnTo>
                          <a:pt x="179" y="41"/>
                        </a:lnTo>
                        <a:lnTo>
                          <a:pt x="181" y="44"/>
                        </a:lnTo>
                        <a:lnTo>
                          <a:pt x="181" y="56"/>
                        </a:lnTo>
                        <a:lnTo>
                          <a:pt x="178" y="59"/>
                        </a:lnTo>
                        <a:lnTo>
                          <a:pt x="175" y="61"/>
                        </a:lnTo>
                        <a:lnTo>
                          <a:pt x="173" y="61"/>
                        </a:lnTo>
                        <a:lnTo>
                          <a:pt x="172" y="62"/>
                        </a:lnTo>
                        <a:lnTo>
                          <a:pt x="170" y="62"/>
                        </a:lnTo>
                        <a:lnTo>
                          <a:pt x="167" y="64"/>
                        </a:lnTo>
                        <a:lnTo>
                          <a:pt x="166" y="66"/>
                        </a:lnTo>
                        <a:lnTo>
                          <a:pt x="166" y="69"/>
                        </a:lnTo>
                        <a:lnTo>
                          <a:pt x="165" y="72"/>
                        </a:lnTo>
                        <a:lnTo>
                          <a:pt x="165" y="77"/>
                        </a:lnTo>
                        <a:lnTo>
                          <a:pt x="166" y="78"/>
                        </a:lnTo>
                        <a:lnTo>
                          <a:pt x="169" y="78"/>
                        </a:lnTo>
                        <a:lnTo>
                          <a:pt x="172" y="80"/>
                        </a:lnTo>
                        <a:lnTo>
                          <a:pt x="175" y="80"/>
                        </a:lnTo>
                        <a:lnTo>
                          <a:pt x="176" y="81"/>
                        </a:lnTo>
                        <a:lnTo>
                          <a:pt x="178" y="81"/>
                        </a:lnTo>
                        <a:lnTo>
                          <a:pt x="178" y="84"/>
                        </a:lnTo>
                        <a:lnTo>
                          <a:pt x="176" y="87"/>
                        </a:lnTo>
                        <a:lnTo>
                          <a:pt x="176" y="96"/>
                        </a:lnTo>
                        <a:lnTo>
                          <a:pt x="178" y="101"/>
                        </a:lnTo>
                        <a:lnTo>
                          <a:pt x="178" y="108"/>
                        </a:lnTo>
                        <a:lnTo>
                          <a:pt x="188" y="101"/>
                        </a:lnTo>
                        <a:lnTo>
                          <a:pt x="188" y="111"/>
                        </a:lnTo>
                        <a:lnTo>
                          <a:pt x="191" y="120"/>
                        </a:lnTo>
                        <a:lnTo>
                          <a:pt x="193" y="123"/>
                        </a:lnTo>
                        <a:lnTo>
                          <a:pt x="197" y="127"/>
                        </a:lnTo>
                        <a:lnTo>
                          <a:pt x="196" y="129"/>
                        </a:lnTo>
                        <a:lnTo>
                          <a:pt x="194" y="129"/>
                        </a:lnTo>
                        <a:lnTo>
                          <a:pt x="194" y="132"/>
                        </a:lnTo>
                        <a:lnTo>
                          <a:pt x="202" y="132"/>
                        </a:lnTo>
                        <a:lnTo>
                          <a:pt x="204" y="137"/>
                        </a:lnTo>
                        <a:lnTo>
                          <a:pt x="212" y="137"/>
                        </a:lnTo>
                        <a:lnTo>
                          <a:pt x="212" y="139"/>
                        </a:lnTo>
                        <a:lnTo>
                          <a:pt x="213" y="140"/>
                        </a:lnTo>
                        <a:lnTo>
                          <a:pt x="218" y="140"/>
                        </a:lnTo>
                        <a:lnTo>
                          <a:pt x="219" y="143"/>
                        </a:lnTo>
                        <a:lnTo>
                          <a:pt x="224" y="148"/>
                        </a:lnTo>
                        <a:lnTo>
                          <a:pt x="225" y="151"/>
                        </a:lnTo>
                        <a:lnTo>
                          <a:pt x="228" y="154"/>
                        </a:lnTo>
                        <a:lnTo>
                          <a:pt x="234" y="154"/>
                        </a:lnTo>
                        <a:lnTo>
                          <a:pt x="240" y="160"/>
                        </a:lnTo>
                        <a:lnTo>
                          <a:pt x="243" y="166"/>
                        </a:lnTo>
                        <a:lnTo>
                          <a:pt x="244" y="167"/>
                        </a:lnTo>
                        <a:lnTo>
                          <a:pt x="244" y="169"/>
                        </a:lnTo>
                        <a:lnTo>
                          <a:pt x="243" y="177"/>
                        </a:lnTo>
                        <a:lnTo>
                          <a:pt x="249" y="180"/>
                        </a:lnTo>
                        <a:lnTo>
                          <a:pt x="255" y="203"/>
                        </a:lnTo>
                        <a:lnTo>
                          <a:pt x="261" y="203"/>
                        </a:lnTo>
                        <a:lnTo>
                          <a:pt x="264" y="208"/>
                        </a:lnTo>
                        <a:lnTo>
                          <a:pt x="247" y="222"/>
                        </a:lnTo>
                        <a:lnTo>
                          <a:pt x="246" y="219"/>
                        </a:lnTo>
                        <a:lnTo>
                          <a:pt x="244" y="217"/>
                        </a:lnTo>
                        <a:lnTo>
                          <a:pt x="244" y="214"/>
                        </a:lnTo>
                        <a:lnTo>
                          <a:pt x="243" y="213"/>
                        </a:lnTo>
                        <a:lnTo>
                          <a:pt x="237" y="213"/>
                        </a:lnTo>
                        <a:lnTo>
                          <a:pt x="236" y="214"/>
                        </a:lnTo>
                        <a:lnTo>
                          <a:pt x="236" y="216"/>
                        </a:lnTo>
                        <a:lnTo>
                          <a:pt x="233" y="222"/>
                        </a:lnTo>
                        <a:lnTo>
                          <a:pt x="231" y="223"/>
                        </a:lnTo>
                        <a:lnTo>
                          <a:pt x="230" y="226"/>
                        </a:lnTo>
                        <a:lnTo>
                          <a:pt x="228" y="223"/>
                        </a:lnTo>
                        <a:lnTo>
                          <a:pt x="227" y="223"/>
                        </a:lnTo>
                        <a:lnTo>
                          <a:pt x="225" y="222"/>
                        </a:lnTo>
                        <a:lnTo>
                          <a:pt x="222" y="220"/>
                        </a:lnTo>
                        <a:lnTo>
                          <a:pt x="215" y="220"/>
                        </a:lnTo>
                        <a:lnTo>
                          <a:pt x="215" y="222"/>
                        </a:lnTo>
                        <a:lnTo>
                          <a:pt x="213" y="223"/>
                        </a:lnTo>
                        <a:lnTo>
                          <a:pt x="210" y="225"/>
                        </a:lnTo>
                        <a:lnTo>
                          <a:pt x="203" y="229"/>
                        </a:lnTo>
                        <a:lnTo>
                          <a:pt x="194" y="232"/>
                        </a:lnTo>
                        <a:lnTo>
                          <a:pt x="188" y="235"/>
                        </a:lnTo>
                        <a:lnTo>
                          <a:pt x="187" y="235"/>
                        </a:lnTo>
                        <a:lnTo>
                          <a:pt x="184" y="232"/>
                        </a:lnTo>
                        <a:lnTo>
                          <a:pt x="184" y="228"/>
                        </a:lnTo>
                        <a:lnTo>
                          <a:pt x="182" y="225"/>
                        </a:lnTo>
                        <a:lnTo>
                          <a:pt x="182" y="223"/>
                        </a:lnTo>
                        <a:lnTo>
                          <a:pt x="178" y="222"/>
                        </a:lnTo>
                        <a:lnTo>
                          <a:pt x="176" y="214"/>
                        </a:lnTo>
                        <a:lnTo>
                          <a:pt x="165" y="216"/>
                        </a:lnTo>
                        <a:lnTo>
                          <a:pt x="165" y="210"/>
                        </a:lnTo>
                        <a:lnTo>
                          <a:pt x="160" y="206"/>
                        </a:lnTo>
                        <a:lnTo>
                          <a:pt x="157" y="206"/>
                        </a:lnTo>
                        <a:lnTo>
                          <a:pt x="148" y="210"/>
                        </a:lnTo>
                        <a:lnTo>
                          <a:pt x="145" y="213"/>
                        </a:lnTo>
                        <a:lnTo>
                          <a:pt x="142" y="214"/>
                        </a:lnTo>
                        <a:lnTo>
                          <a:pt x="141" y="216"/>
                        </a:lnTo>
                        <a:lnTo>
                          <a:pt x="141" y="217"/>
                        </a:lnTo>
                        <a:lnTo>
                          <a:pt x="144" y="223"/>
                        </a:lnTo>
                        <a:lnTo>
                          <a:pt x="151" y="231"/>
                        </a:lnTo>
                        <a:lnTo>
                          <a:pt x="151" y="241"/>
                        </a:lnTo>
                        <a:lnTo>
                          <a:pt x="147" y="245"/>
                        </a:lnTo>
                        <a:lnTo>
                          <a:pt x="138" y="247"/>
                        </a:lnTo>
                        <a:lnTo>
                          <a:pt x="136" y="247"/>
                        </a:lnTo>
                        <a:lnTo>
                          <a:pt x="135" y="248"/>
                        </a:lnTo>
                        <a:lnTo>
                          <a:pt x="133" y="248"/>
                        </a:lnTo>
                        <a:lnTo>
                          <a:pt x="125" y="244"/>
                        </a:lnTo>
                        <a:lnTo>
                          <a:pt x="123" y="241"/>
                        </a:lnTo>
                        <a:lnTo>
                          <a:pt x="122" y="240"/>
                        </a:lnTo>
                        <a:lnTo>
                          <a:pt x="119" y="238"/>
                        </a:lnTo>
                        <a:lnTo>
                          <a:pt x="114" y="237"/>
                        </a:lnTo>
                        <a:lnTo>
                          <a:pt x="111" y="237"/>
                        </a:lnTo>
                        <a:lnTo>
                          <a:pt x="108" y="234"/>
                        </a:lnTo>
                        <a:lnTo>
                          <a:pt x="108" y="229"/>
                        </a:lnTo>
                        <a:lnTo>
                          <a:pt x="107" y="228"/>
                        </a:lnTo>
                        <a:lnTo>
                          <a:pt x="101" y="225"/>
                        </a:lnTo>
                        <a:lnTo>
                          <a:pt x="96" y="222"/>
                        </a:lnTo>
                        <a:lnTo>
                          <a:pt x="95" y="220"/>
                        </a:lnTo>
                        <a:lnTo>
                          <a:pt x="92" y="219"/>
                        </a:lnTo>
                        <a:lnTo>
                          <a:pt x="92" y="216"/>
                        </a:lnTo>
                        <a:lnTo>
                          <a:pt x="94" y="214"/>
                        </a:lnTo>
                        <a:lnTo>
                          <a:pt x="95" y="211"/>
                        </a:lnTo>
                        <a:lnTo>
                          <a:pt x="98" y="208"/>
                        </a:lnTo>
                        <a:lnTo>
                          <a:pt x="101" y="203"/>
                        </a:lnTo>
                        <a:lnTo>
                          <a:pt x="101" y="201"/>
                        </a:lnTo>
                        <a:lnTo>
                          <a:pt x="98" y="198"/>
                        </a:lnTo>
                        <a:lnTo>
                          <a:pt x="92" y="195"/>
                        </a:lnTo>
                        <a:lnTo>
                          <a:pt x="86" y="195"/>
                        </a:lnTo>
                        <a:lnTo>
                          <a:pt x="83" y="192"/>
                        </a:lnTo>
                        <a:lnTo>
                          <a:pt x="79" y="183"/>
                        </a:lnTo>
                        <a:lnTo>
                          <a:pt x="79" y="179"/>
                        </a:lnTo>
                        <a:lnTo>
                          <a:pt x="80" y="177"/>
                        </a:lnTo>
                        <a:lnTo>
                          <a:pt x="80" y="166"/>
                        </a:lnTo>
                        <a:lnTo>
                          <a:pt x="79" y="163"/>
                        </a:lnTo>
                        <a:lnTo>
                          <a:pt x="76" y="160"/>
                        </a:lnTo>
                        <a:lnTo>
                          <a:pt x="74" y="160"/>
                        </a:lnTo>
                        <a:lnTo>
                          <a:pt x="73" y="158"/>
                        </a:lnTo>
                        <a:lnTo>
                          <a:pt x="70" y="157"/>
                        </a:lnTo>
                        <a:lnTo>
                          <a:pt x="65" y="154"/>
                        </a:lnTo>
                        <a:lnTo>
                          <a:pt x="57" y="149"/>
                        </a:lnTo>
                        <a:lnTo>
                          <a:pt x="55" y="149"/>
                        </a:lnTo>
                        <a:lnTo>
                          <a:pt x="54" y="148"/>
                        </a:lnTo>
                        <a:lnTo>
                          <a:pt x="51" y="148"/>
                        </a:lnTo>
                        <a:lnTo>
                          <a:pt x="48" y="146"/>
                        </a:lnTo>
                        <a:lnTo>
                          <a:pt x="43" y="146"/>
                        </a:lnTo>
                        <a:lnTo>
                          <a:pt x="40" y="145"/>
                        </a:lnTo>
                        <a:lnTo>
                          <a:pt x="33" y="140"/>
                        </a:lnTo>
                        <a:lnTo>
                          <a:pt x="24" y="135"/>
                        </a:lnTo>
                        <a:lnTo>
                          <a:pt x="15" y="130"/>
                        </a:lnTo>
                        <a:lnTo>
                          <a:pt x="9" y="124"/>
                        </a:lnTo>
                        <a:lnTo>
                          <a:pt x="6" y="118"/>
                        </a:lnTo>
                        <a:lnTo>
                          <a:pt x="5" y="114"/>
                        </a:lnTo>
                        <a:lnTo>
                          <a:pt x="2" y="108"/>
                        </a:lnTo>
                        <a:lnTo>
                          <a:pt x="0" y="106"/>
                        </a:lnTo>
                        <a:lnTo>
                          <a:pt x="0" y="105"/>
                        </a:lnTo>
                        <a:lnTo>
                          <a:pt x="3" y="99"/>
                        </a:lnTo>
                        <a:lnTo>
                          <a:pt x="6" y="96"/>
                        </a:lnTo>
                        <a:lnTo>
                          <a:pt x="9" y="87"/>
                        </a:lnTo>
                        <a:lnTo>
                          <a:pt x="11" y="80"/>
                        </a:lnTo>
                        <a:lnTo>
                          <a:pt x="12" y="71"/>
                        </a:lnTo>
                        <a:lnTo>
                          <a:pt x="15" y="62"/>
                        </a:lnTo>
                        <a:lnTo>
                          <a:pt x="17" y="55"/>
                        </a:lnTo>
                        <a:lnTo>
                          <a:pt x="17" y="52"/>
                        </a:lnTo>
                        <a:lnTo>
                          <a:pt x="6" y="43"/>
                        </a:lnTo>
                        <a:lnTo>
                          <a:pt x="6" y="38"/>
                        </a:lnTo>
                        <a:lnTo>
                          <a:pt x="5" y="37"/>
                        </a:lnTo>
                        <a:lnTo>
                          <a:pt x="2" y="35"/>
                        </a:lnTo>
                        <a:lnTo>
                          <a:pt x="0" y="32"/>
                        </a:lnTo>
                        <a:lnTo>
                          <a:pt x="0" y="30"/>
                        </a:lnTo>
                        <a:lnTo>
                          <a:pt x="3" y="27"/>
                        </a:lnTo>
                        <a:lnTo>
                          <a:pt x="9" y="27"/>
                        </a:lnTo>
                        <a:lnTo>
                          <a:pt x="18" y="31"/>
                        </a:lnTo>
                        <a:lnTo>
                          <a:pt x="20" y="31"/>
                        </a:lnTo>
                        <a:lnTo>
                          <a:pt x="23" y="30"/>
                        </a:lnTo>
                        <a:lnTo>
                          <a:pt x="27" y="25"/>
                        </a:lnTo>
                        <a:lnTo>
                          <a:pt x="30" y="24"/>
                        </a:lnTo>
                        <a:lnTo>
                          <a:pt x="36" y="18"/>
                        </a:lnTo>
                        <a:lnTo>
                          <a:pt x="39" y="16"/>
                        </a:lnTo>
                        <a:lnTo>
                          <a:pt x="43" y="13"/>
                        </a:lnTo>
                        <a:lnTo>
                          <a:pt x="46" y="10"/>
                        </a:lnTo>
                        <a:lnTo>
                          <a:pt x="51" y="7"/>
                        </a:lnTo>
                        <a:lnTo>
                          <a:pt x="52" y="6"/>
                        </a:lnTo>
                        <a:lnTo>
                          <a:pt x="58" y="4"/>
                        </a:lnTo>
                        <a:lnTo>
                          <a:pt x="73" y="7"/>
                        </a:lnTo>
                        <a:lnTo>
                          <a:pt x="76" y="9"/>
                        </a:lnTo>
                        <a:lnTo>
                          <a:pt x="77" y="9"/>
                        </a:lnTo>
                        <a:lnTo>
                          <a:pt x="79" y="7"/>
                        </a:lnTo>
                        <a:lnTo>
                          <a:pt x="82" y="6"/>
                        </a:lnTo>
                        <a:lnTo>
                          <a:pt x="83" y="4"/>
                        </a:lnTo>
                        <a:lnTo>
                          <a:pt x="86" y="3"/>
                        </a:lnTo>
                        <a:lnTo>
                          <a:pt x="88" y="1"/>
                        </a:lnTo>
                        <a:lnTo>
                          <a:pt x="95"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09" name="Freeform 288" descr="© INSCALE GmbH, 21.06.2010"/>
                  <p:cNvSpPr>
                    <a:spLocks noChangeAspect="1"/>
                  </p:cNvSpPr>
                  <p:nvPr/>
                </p:nvSpPr>
                <p:spPr bwMode="auto">
                  <a:xfrm>
                    <a:off x="3638189" y="3512562"/>
                    <a:ext cx="249935" cy="254123"/>
                  </a:xfrm>
                  <a:custGeom>
                    <a:avLst/>
                    <a:gdLst>
                      <a:gd name="T0" fmla="*/ 2147483646 w 259"/>
                      <a:gd name="T1" fmla="*/ 2147483646 h 263"/>
                      <a:gd name="T2" fmla="*/ 2147483646 w 259"/>
                      <a:gd name="T3" fmla="*/ 2147483646 h 263"/>
                      <a:gd name="T4" fmla="*/ 2147483646 w 259"/>
                      <a:gd name="T5" fmla="*/ 2147483646 h 263"/>
                      <a:gd name="T6" fmla="*/ 2147483646 w 259"/>
                      <a:gd name="T7" fmla="*/ 2147483646 h 263"/>
                      <a:gd name="T8" fmla="*/ 2147483646 w 259"/>
                      <a:gd name="T9" fmla="*/ 2147483646 h 263"/>
                      <a:gd name="T10" fmla="*/ 2147483646 w 259"/>
                      <a:gd name="T11" fmla="*/ 2147483646 h 263"/>
                      <a:gd name="T12" fmla="*/ 2147483646 w 259"/>
                      <a:gd name="T13" fmla="*/ 2147483646 h 263"/>
                      <a:gd name="T14" fmla="*/ 2147483646 w 259"/>
                      <a:gd name="T15" fmla="*/ 2147483646 h 263"/>
                      <a:gd name="T16" fmla="*/ 2147483646 w 259"/>
                      <a:gd name="T17" fmla="*/ 2147483646 h 263"/>
                      <a:gd name="T18" fmla="*/ 2147483646 w 259"/>
                      <a:gd name="T19" fmla="*/ 2147483646 h 263"/>
                      <a:gd name="T20" fmla="*/ 2147483646 w 259"/>
                      <a:gd name="T21" fmla="*/ 2147483646 h 263"/>
                      <a:gd name="T22" fmla="*/ 2147483646 w 259"/>
                      <a:gd name="T23" fmla="*/ 2147483646 h 263"/>
                      <a:gd name="T24" fmla="*/ 2147483646 w 259"/>
                      <a:gd name="T25" fmla="*/ 2147483646 h 263"/>
                      <a:gd name="T26" fmla="*/ 2147483646 w 259"/>
                      <a:gd name="T27" fmla="*/ 2147483646 h 263"/>
                      <a:gd name="T28" fmla="*/ 2147483646 w 259"/>
                      <a:gd name="T29" fmla="*/ 2147483646 h 263"/>
                      <a:gd name="T30" fmla="*/ 2147483646 w 259"/>
                      <a:gd name="T31" fmla="*/ 2147483646 h 263"/>
                      <a:gd name="T32" fmla="*/ 2147483646 w 259"/>
                      <a:gd name="T33" fmla="*/ 2147483646 h 263"/>
                      <a:gd name="T34" fmla="*/ 2147483646 w 259"/>
                      <a:gd name="T35" fmla="*/ 2147483646 h 263"/>
                      <a:gd name="T36" fmla="*/ 2147483646 w 259"/>
                      <a:gd name="T37" fmla="*/ 2147483646 h 263"/>
                      <a:gd name="T38" fmla="*/ 2147483646 w 259"/>
                      <a:gd name="T39" fmla="*/ 2147483646 h 263"/>
                      <a:gd name="T40" fmla="*/ 2147483646 w 259"/>
                      <a:gd name="T41" fmla="*/ 2147483646 h 263"/>
                      <a:gd name="T42" fmla="*/ 2147483646 w 259"/>
                      <a:gd name="T43" fmla="*/ 2147483646 h 263"/>
                      <a:gd name="T44" fmla="*/ 2147483646 w 259"/>
                      <a:gd name="T45" fmla="*/ 2147483646 h 263"/>
                      <a:gd name="T46" fmla="*/ 2147483646 w 259"/>
                      <a:gd name="T47" fmla="*/ 2147483646 h 263"/>
                      <a:gd name="T48" fmla="*/ 2147483646 w 259"/>
                      <a:gd name="T49" fmla="*/ 2147483646 h 263"/>
                      <a:gd name="T50" fmla="*/ 2147483646 w 259"/>
                      <a:gd name="T51" fmla="*/ 2147483646 h 263"/>
                      <a:gd name="T52" fmla="*/ 2147483646 w 259"/>
                      <a:gd name="T53" fmla="*/ 2147483646 h 263"/>
                      <a:gd name="T54" fmla="*/ 2147483646 w 259"/>
                      <a:gd name="T55" fmla="*/ 2147483646 h 263"/>
                      <a:gd name="T56" fmla="*/ 2147483646 w 259"/>
                      <a:gd name="T57" fmla="*/ 2147483646 h 263"/>
                      <a:gd name="T58" fmla="*/ 2147483646 w 259"/>
                      <a:gd name="T59" fmla="*/ 2147483646 h 263"/>
                      <a:gd name="T60" fmla="*/ 2147483646 w 259"/>
                      <a:gd name="T61" fmla="*/ 2147483646 h 263"/>
                      <a:gd name="T62" fmla="*/ 2147483646 w 259"/>
                      <a:gd name="T63" fmla="*/ 2147483646 h 263"/>
                      <a:gd name="T64" fmla="*/ 2147483646 w 259"/>
                      <a:gd name="T65" fmla="*/ 2147483646 h 263"/>
                      <a:gd name="T66" fmla="*/ 2147483646 w 259"/>
                      <a:gd name="T67" fmla="*/ 2147483646 h 263"/>
                      <a:gd name="T68" fmla="*/ 2147483646 w 259"/>
                      <a:gd name="T69" fmla="*/ 2147483646 h 263"/>
                      <a:gd name="T70" fmla="*/ 2147483646 w 259"/>
                      <a:gd name="T71" fmla="*/ 2147483646 h 263"/>
                      <a:gd name="T72" fmla="*/ 2147483646 w 259"/>
                      <a:gd name="T73" fmla="*/ 2147483646 h 263"/>
                      <a:gd name="T74" fmla="*/ 2147483646 w 259"/>
                      <a:gd name="T75" fmla="*/ 2147483646 h 263"/>
                      <a:gd name="T76" fmla="*/ 2147483646 w 259"/>
                      <a:gd name="T77" fmla="*/ 2147483646 h 263"/>
                      <a:gd name="T78" fmla="*/ 2147483646 w 259"/>
                      <a:gd name="T79" fmla="*/ 2147483646 h 263"/>
                      <a:gd name="T80" fmla="*/ 2147483646 w 259"/>
                      <a:gd name="T81" fmla="*/ 2147483646 h 263"/>
                      <a:gd name="T82" fmla="*/ 2147483646 w 259"/>
                      <a:gd name="T83" fmla="*/ 2147483646 h 263"/>
                      <a:gd name="T84" fmla="*/ 2147483646 w 259"/>
                      <a:gd name="T85" fmla="*/ 2147483646 h 263"/>
                      <a:gd name="T86" fmla="*/ 2147483646 w 259"/>
                      <a:gd name="T87" fmla="*/ 2147483646 h 263"/>
                      <a:gd name="T88" fmla="*/ 2147483646 w 259"/>
                      <a:gd name="T89" fmla="*/ 2147483646 h 263"/>
                      <a:gd name="T90" fmla="*/ 2147483646 w 259"/>
                      <a:gd name="T91" fmla="*/ 2147483646 h 263"/>
                      <a:gd name="T92" fmla="*/ 2147483646 w 259"/>
                      <a:gd name="T93" fmla="*/ 2147483646 h 263"/>
                      <a:gd name="T94" fmla="*/ 2147483646 w 259"/>
                      <a:gd name="T95" fmla="*/ 2147483646 h 263"/>
                      <a:gd name="T96" fmla="*/ 2147483646 w 259"/>
                      <a:gd name="T97" fmla="*/ 2147483646 h 263"/>
                      <a:gd name="T98" fmla="*/ 0 w 259"/>
                      <a:gd name="T99" fmla="*/ 2147483646 h 263"/>
                      <a:gd name="T100" fmla="*/ 2147483646 w 259"/>
                      <a:gd name="T101" fmla="*/ 2147483646 h 263"/>
                      <a:gd name="T102" fmla="*/ 2147483646 w 259"/>
                      <a:gd name="T103" fmla="*/ 2147483646 h 263"/>
                      <a:gd name="T104" fmla="*/ 2147483646 w 259"/>
                      <a:gd name="T105" fmla="*/ 2147483646 h 263"/>
                      <a:gd name="T106" fmla="*/ 2147483646 w 259"/>
                      <a:gd name="T107" fmla="*/ 2147483646 h 263"/>
                      <a:gd name="T108" fmla="*/ 2147483646 w 259"/>
                      <a:gd name="T109" fmla="*/ 2147483646 h 263"/>
                      <a:gd name="T110" fmla="*/ 2147483646 w 259"/>
                      <a:gd name="T111" fmla="*/ 2147483646 h 263"/>
                      <a:gd name="T112" fmla="*/ 2147483646 w 259"/>
                      <a:gd name="T113" fmla="*/ 0 h 2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9"/>
                      <a:gd name="T172" fmla="*/ 0 h 263"/>
                      <a:gd name="T173" fmla="*/ 259 w 259"/>
                      <a:gd name="T174" fmla="*/ 263 h 2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9" h="263">
                        <a:moveTo>
                          <a:pt x="84" y="0"/>
                        </a:moveTo>
                        <a:lnTo>
                          <a:pt x="87" y="0"/>
                        </a:lnTo>
                        <a:lnTo>
                          <a:pt x="94" y="2"/>
                        </a:lnTo>
                        <a:lnTo>
                          <a:pt x="115" y="10"/>
                        </a:lnTo>
                        <a:lnTo>
                          <a:pt x="115" y="16"/>
                        </a:lnTo>
                        <a:lnTo>
                          <a:pt x="123" y="18"/>
                        </a:lnTo>
                        <a:lnTo>
                          <a:pt x="131" y="15"/>
                        </a:lnTo>
                        <a:lnTo>
                          <a:pt x="137" y="22"/>
                        </a:lnTo>
                        <a:lnTo>
                          <a:pt x="146" y="18"/>
                        </a:lnTo>
                        <a:lnTo>
                          <a:pt x="151" y="24"/>
                        </a:lnTo>
                        <a:lnTo>
                          <a:pt x="152" y="25"/>
                        </a:lnTo>
                        <a:lnTo>
                          <a:pt x="152" y="31"/>
                        </a:lnTo>
                        <a:lnTo>
                          <a:pt x="149" y="31"/>
                        </a:lnTo>
                        <a:lnTo>
                          <a:pt x="148" y="33"/>
                        </a:lnTo>
                        <a:lnTo>
                          <a:pt x="146" y="36"/>
                        </a:lnTo>
                        <a:lnTo>
                          <a:pt x="145" y="37"/>
                        </a:lnTo>
                        <a:lnTo>
                          <a:pt x="145" y="44"/>
                        </a:lnTo>
                        <a:lnTo>
                          <a:pt x="142" y="47"/>
                        </a:lnTo>
                        <a:lnTo>
                          <a:pt x="142" y="49"/>
                        </a:lnTo>
                        <a:lnTo>
                          <a:pt x="143" y="52"/>
                        </a:lnTo>
                        <a:lnTo>
                          <a:pt x="143" y="53"/>
                        </a:lnTo>
                        <a:lnTo>
                          <a:pt x="145" y="56"/>
                        </a:lnTo>
                        <a:lnTo>
                          <a:pt x="136" y="56"/>
                        </a:lnTo>
                        <a:lnTo>
                          <a:pt x="133" y="58"/>
                        </a:lnTo>
                        <a:lnTo>
                          <a:pt x="133" y="61"/>
                        </a:lnTo>
                        <a:lnTo>
                          <a:pt x="134" y="64"/>
                        </a:lnTo>
                        <a:lnTo>
                          <a:pt x="136" y="65"/>
                        </a:lnTo>
                        <a:lnTo>
                          <a:pt x="139" y="70"/>
                        </a:lnTo>
                        <a:lnTo>
                          <a:pt x="146" y="77"/>
                        </a:lnTo>
                        <a:lnTo>
                          <a:pt x="145" y="80"/>
                        </a:lnTo>
                        <a:lnTo>
                          <a:pt x="145" y="87"/>
                        </a:lnTo>
                        <a:lnTo>
                          <a:pt x="146" y="90"/>
                        </a:lnTo>
                        <a:lnTo>
                          <a:pt x="145" y="90"/>
                        </a:lnTo>
                        <a:lnTo>
                          <a:pt x="143" y="92"/>
                        </a:lnTo>
                        <a:lnTo>
                          <a:pt x="140" y="93"/>
                        </a:lnTo>
                        <a:lnTo>
                          <a:pt x="139" y="96"/>
                        </a:lnTo>
                        <a:lnTo>
                          <a:pt x="134" y="101"/>
                        </a:lnTo>
                        <a:lnTo>
                          <a:pt x="128" y="104"/>
                        </a:lnTo>
                        <a:lnTo>
                          <a:pt x="120" y="104"/>
                        </a:lnTo>
                        <a:lnTo>
                          <a:pt x="117" y="101"/>
                        </a:lnTo>
                        <a:lnTo>
                          <a:pt x="123" y="114"/>
                        </a:lnTo>
                        <a:lnTo>
                          <a:pt x="131" y="114"/>
                        </a:lnTo>
                        <a:lnTo>
                          <a:pt x="137" y="120"/>
                        </a:lnTo>
                        <a:lnTo>
                          <a:pt x="148" y="120"/>
                        </a:lnTo>
                        <a:lnTo>
                          <a:pt x="151" y="121"/>
                        </a:lnTo>
                        <a:lnTo>
                          <a:pt x="152" y="121"/>
                        </a:lnTo>
                        <a:lnTo>
                          <a:pt x="155" y="123"/>
                        </a:lnTo>
                        <a:lnTo>
                          <a:pt x="158" y="123"/>
                        </a:lnTo>
                        <a:lnTo>
                          <a:pt x="160" y="124"/>
                        </a:lnTo>
                        <a:lnTo>
                          <a:pt x="161" y="124"/>
                        </a:lnTo>
                        <a:lnTo>
                          <a:pt x="161" y="138"/>
                        </a:lnTo>
                        <a:lnTo>
                          <a:pt x="164" y="141"/>
                        </a:lnTo>
                        <a:lnTo>
                          <a:pt x="165" y="141"/>
                        </a:lnTo>
                        <a:lnTo>
                          <a:pt x="170" y="139"/>
                        </a:lnTo>
                        <a:lnTo>
                          <a:pt x="174" y="136"/>
                        </a:lnTo>
                        <a:lnTo>
                          <a:pt x="176" y="135"/>
                        </a:lnTo>
                        <a:lnTo>
                          <a:pt x="177" y="135"/>
                        </a:lnTo>
                        <a:lnTo>
                          <a:pt x="179" y="143"/>
                        </a:lnTo>
                        <a:lnTo>
                          <a:pt x="185" y="138"/>
                        </a:lnTo>
                        <a:lnTo>
                          <a:pt x="198" y="138"/>
                        </a:lnTo>
                        <a:lnTo>
                          <a:pt x="204" y="135"/>
                        </a:lnTo>
                        <a:lnTo>
                          <a:pt x="205" y="133"/>
                        </a:lnTo>
                        <a:lnTo>
                          <a:pt x="208" y="132"/>
                        </a:lnTo>
                        <a:lnTo>
                          <a:pt x="217" y="136"/>
                        </a:lnTo>
                        <a:lnTo>
                          <a:pt x="233" y="139"/>
                        </a:lnTo>
                        <a:lnTo>
                          <a:pt x="259" y="179"/>
                        </a:lnTo>
                        <a:lnTo>
                          <a:pt x="250" y="179"/>
                        </a:lnTo>
                        <a:lnTo>
                          <a:pt x="245" y="177"/>
                        </a:lnTo>
                        <a:lnTo>
                          <a:pt x="238" y="177"/>
                        </a:lnTo>
                        <a:lnTo>
                          <a:pt x="233" y="179"/>
                        </a:lnTo>
                        <a:lnTo>
                          <a:pt x="229" y="179"/>
                        </a:lnTo>
                        <a:lnTo>
                          <a:pt x="226" y="180"/>
                        </a:lnTo>
                        <a:lnTo>
                          <a:pt x="223" y="180"/>
                        </a:lnTo>
                        <a:lnTo>
                          <a:pt x="216" y="167"/>
                        </a:lnTo>
                        <a:lnTo>
                          <a:pt x="210" y="173"/>
                        </a:lnTo>
                        <a:lnTo>
                          <a:pt x="207" y="175"/>
                        </a:lnTo>
                        <a:lnTo>
                          <a:pt x="199" y="179"/>
                        </a:lnTo>
                        <a:lnTo>
                          <a:pt x="189" y="183"/>
                        </a:lnTo>
                        <a:lnTo>
                          <a:pt x="182" y="186"/>
                        </a:lnTo>
                        <a:lnTo>
                          <a:pt x="176" y="189"/>
                        </a:lnTo>
                        <a:lnTo>
                          <a:pt x="174" y="191"/>
                        </a:lnTo>
                        <a:lnTo>
                          <a:pt x="173" y="194"/>
                        </a:lnTo>
                        <a:lnTo>
                          <a:pt x="173" y="198"/>
                        </a:lnTo>
                        <a:lnTo>
                          <a:pt x="171" y="201"/>
                        </a:lnTo>
                        <a:lnTo>
                          <a:pt x="171" y="207"/>
                        </a:lnTo>
                        <a:lnTo>
                          <a:pt x="170" y="209"/>
                        </a:lnTo>
                        <a:lnTo>
                          <a:pt x="165" y="211"/>
                        </a:lnTo>
                        <a:lnTo>
                          <a:pt x="157" y="214"/>
                        </a:lnTo>
                        <a:lnTo>
                          <a:pt x="148" y="219"/>
                        </a:lnTo>
                        <a:lnTo>
                          <a:pt x="140" y="225"/>
                        </a:lnTo>
                        <a:lnTo>
                          <a:pt x="136" y="228"/>
                        </a:lnTo>
                        <a:lnTo>
                          <a:pt x="130" y="237"/>
                        </a:lnTo>
                        <a:lnTo>
                          <a:pt x="127" y="243"/>
                        </a:lnTo>
                        <a:lnTo>
                          <a:pt x="126" y="244"/>
                        </a:lnTo>
                        <a:lnTo>
                          <a:pt x="126" y="246"/>
                        </a:lnTo>
                        <a:lnTo>
                          <a:pt x="124" y="248"/>
                        </a:lnTo>
                        <a:lnTo>
                          <a:pt x="124" y="253"/>
                        </a:lnTo>
                        <a:lnTo>
                          <a:pt x="123" y="257"/>
                        </a:lnTo>
                        <a:lnTo>
                          <a:pt x="123" y="263"/>
                        </a:lnTo>
                        <a:lnTo>
                          <a:pt x="112" y="263"/>
                        </a:lnTo>
                        <a:lnTo>
                          <a:pt x="94" y="257"/>
                        </a:lnTo>
                        <a:lnTo>
                          <a:pt x="91" y="256"/>
                        </a:lnTo>
                        <a:lnTo>
                          <a:pt x="90" y="254"/>
                        </a:lnTo>
                        <a:lnTo>
                          <a:pt x="87" y="253"/>
                        </a:lnTo>
                        <a:lnTo>
                          <a:pt x="86" y="248"/>
                        </a:lnTo>
                        <a:lnTo>
                          <a:pt x="84" y="243"/>
                        </a:lnTo>
                        <a:lnTo>
                          <a:pt x="80" y="237"/>
                        </a:lnTo>
                        <a:lnTo>
                          <a:pt x="74" y="231"/>
                        </a:lnTo>
                        <a:lnTo>
                          <a:pt x="66" y="226"/>
                        </a:lnTo>
                        <a:lnTo>
                          <a:pt x="66" y="223"/>
                        </a:lnTo>
                        <a:lnTo>
                          <a:pt x="68" y="219"/>
                        </a:lnTo>
                        <a:lnTo>
                          <a:pt x="68" y="214"/>
                        </a:lnTo>
                        <a:lnTo>
                          <a:pt x="63" y="206"/>
                        </a:lnTo>
                        <a:lnTo>
                          <a:pt x="60" y="201"/>
                        </a:lnTo>
                        <a:lnTo>
                          <a:pt x="59" y="200"/>
                        </a:lnTo>
                        <a:lnTo>
                          <a:pt x="57" y="197"/>
                        </a:lnTo>
                        <a:lnTo>
                          <a:pt x="54" y="197"/>
                        </a:lnTo>
                        <a:lnTo>
                          <a:pt x="52" y="195"/>
                        </a:lnTo>
                        <a:lnTo>
                          <a:pt x="49" y="195"/>
                        </a:lnTo>
                        <a:lnTo>
                          <a:pt x="47" y="194"/>
                        </a:lnTo>
                        <a:lnTo>
                          <a:pt x="46" y="194"/>
                        </a:lnTo>
                        <a:lnTo>
                          <a:pt x="49" y="192"/>
                        </a:lnTo>
                        <a:lnTo>
                          <a:pt x="50" y="191"/>
                        </a:lnTo>
                        <a:lnTo>
                          <a:pt x="52" y="188"/>
                        </a:lnTo>
                        <a:lnTo>
                          <a:pt x="53" y="186"/>
                        </a:lnTo>
                        <a:lnTo>
                          <a:pt x="54" y="183"/>
                        </a:lnTo>
                        <a:lnTo>
                          <a:pt x="50" y="179"/>
                        </a:lnTo>
                        <a:lnTo>
                          <a:pt x="47" y="177"/>
                        </a:lnTo>
                        <a:lnTo>
                          <a:pt x="43" y="173"/>
                        </a:lnTo>
                        <a:lnTo>
                          <a:pt x="41" y="173"/>
                        </a:lnTo>
                        <a:lnTo>
                          <a:pt x="40" y="170"/>
                        </a:lnTo>
                        <a:lnTo>
                          <a:pt x="38" y="164"/>
                        </a:lnTo>
                        <a:lnTo>
                          <a:pt x="34" y="158"/>
                        </a:lnTo>
                        <a:lnTo>
                          <a:pt x="32" y="152"/>
                        </a:lnTo>
                        <a:lnTo>
                          <a:pt x="31" y="149"/>
                        </a:lnTo>
                        <a:lnTo>
                          <a:pt x="31" y="148"/>
                        </a:lnTo>
                        <a:lnTo>
                          <a:pt x="34" y="142"/>
                        </a:lnTo>
                        <a:lnTo>
                          <a:pt x="34" y="136"/>
                        </a:lnTo>
                        <a:lnTo>
                          <a:pt x="31" y="132"/>
                        </a:lnTo>
                        <a:lnTo>
                          <a:pt x="26" y="126"/>
                        </a:lnTo>
                        <a:lnTo>
                          <a:pt x="22" y="118"/>
                        </a:lnTo>
                        <a:lnTo>
                          <a:pt x="13" y="109"/>
                        </a:lnTo>
                        <a:lnTo>
                          <a:pt x="12" y="106"/>
                        </a:lnTo>
                        <a:lnTo>
                          <a:pt x="12" y="89"/>
                        </a:lnTo>
                        <a:lnTo>
                          <a:pt x="13" y="87"/>
                        </a:lnTo>
                        <a:lnTo>
                          <a:pt x="13" y="86"/>
                        </a:lnTo>
                        <a:lnTo>
                          <a:pt x="7" y="86"/>
                        </a:lnTo>
                        <a:lnTo>
                          <a:pt x="6" y="84"/>
                        </a:lnTo>
                        <a:lnTo>
                          <a:pt x="0" y="81"/>
                        </a:lnTo>
                        <a:lnTo>
                          <a:pt x="0" y="78"/>
                        </a:lnTo>
                        <a:lnTo>
                          <a:pt x="1" y="71"/>
                        </a:lnTo>
                        <a:lnTo>
                          <a:pt x="4" y="64"/>
                        </a:lnTo>
                        <a:lnTo>
                          <a:pt x="6" y="56"/>
                        </a:lnTo>
                        <a:lnTo>
                          <a:pt x="7" y="53"/>
                        </a:lnTo>
                        <a:lnTo>
                          <a:pt x="7" y="52"/>
                        </a:lnTo>
                        <a:lnTo>
                          <a:pt x="9" y="50"/>
                        </a:lnTo>
                        <a:lnTo>
                          <a:pt x="10" y="47"/>
                        </a:lnTo>
                        <a:lnTo>
                          <a:pt x="12" y="46"/>
                        </a:lnTo>
                        <a:lnTo>
                          <a:pt x="15" y="44"/>
                        </a:lnTo>
                        <a:lnTo>
                          <a:pt x="16" y="43"/>
                        </a:lnTo>
                        <a:lnTo>
                          <a:pt x="18" y="43"/>
                        </a:lnTo>
                        <a:lnTo>
                          <a:pt x="20" y="41"/>
                        </a:lnTo>
                        <a:lnTo>
                          <a:pt x="20" y="38"/>
                        </a:lnTo>
                        <a:lnTo>
                          <a:pt x="25" y="36"/>
                        </a:lnTo>
                        <a:lnTo>
                          <a:pt x="47" y="36"/>
                        </a:lnTo>
                        <a:lnTo>
                          <a:pt x="49" y="34"/>
                        </a:lnTo>
                        <a:lnTo>
                          <a:pt x="49" y="31"/>
                        </a:lnTo>
                        <a:lnTo>
                          <a:pt x="50" y="30"/>
                        </a:lnTo>
                        <a:lnTo>
                          <a:pt x="57" y="24"/>
                        </a:lnTo>
                        <a:lnTo>
                          <a:pt x="78" y="3"/>
                        </a:lnTo>
                        <a:lnTo>
                          <a:pt x="84" y="0"/>
                        </a:lnTo>
                        <a:close/>
                      </a:path>
                    </a:pathLst>
                  </a:custGeom>
                  <a:solidFill>
                    <a:schemeClr val="accent3">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0" name="Freeform 289" descr="© INSCALE GmbH, 21.06.2010"/>
                  <p:cNvSpPr>
                    <a:spLocks noChangeAspect="1"/>
                  </p:cNvSpPr>
                  <p:nvPr/>
                </p:nvSpPr>
                <p:spPr bwMode="auto">
                  <a:xfrm>
                    <a:off x="3757730" y="3431427"/>
                    <a:ext cx="208076" cy="134556"/>
                  </a:xfrm>
                  <a:custGeom>
                    <a:avLst/>
                    <a:gdLst>
                      <a:gd name="T0" fmla="*/ 2147483646 w 218"/>
                      <a:gd name="T1" fmla="*/ 2147483646 h 139"/>
                      <a:gd name="T2" fmla="*/ 2147483646 w 218"/>
                      <a:gd name="T3" fmla="*/ 2147483646 h 139"/>
                      <a:gd name="T4" fmla="*/ 2147483646 w 218"/>
                      <a:gd name="T5" fmla="*/ 2147483646 h 139"/>
                      <a:gd name="T6" fmla="*/ 2147483646 w 218"/>
                      <a:gd name="T7" fmla="*/ 2147483646 h 139"/>
                      <a:gd name="T8" fmla="*/ 2147483646 w 218"/>
                      <a:gd name="T9" fmla="*/ 2147483646 h 139"/>
                      <a:gd name="T10" fmla="*/ 2147483646 w 218"/>
                      <a:gd name="T11" fmla="*/ 2147483646 h 139"/>
                      <a:gd name="T12" fmla="*/ 2147483646 w 218"/>
                      <a:gd name="T13" fmla="*/ 2147483646 h 139"/>
                      <a:gd name="T14" fmla="*/ 2147483646 w 218"/>
                      <a:gd name="T15" fmla="*/ 2147483646 h 139"/>
                      <a:gd name="T16" fmla="*/ 2147483646 w 218"/>
                      <a:gd name="T17" fmla="*/ 2147483646 h 139"/>
                      <a:gd name="T18" fmla="*/ 2147483646 w 218"/>
                      <a:gd name="T19" fmla="*/ 2147483646 h 139"/>
                      <a:gd name="T20" fmla="*/ 2147483646 w 218"/>
                      <a:gd name="T21" fmla="*/ 2147483646 h 139"/>
                      <a:gd name="T22" fmla="*/ 2147483646 w 218"/>
                      <a:gd name="T23" fmla="*/ 2147483646 h 139"/>
                      <a:gd name="T24" fmla="*/ 2147483646 w 218"/>
                      <a:gd name="T25" fmla="*/ 2147483646 h 139"/>
                      <a:gd name="T26" fmla="*/ 2147483646 w 218"/>
                      <a:gd name="T27" fmla="*/ 2147483646 h 139"/>
                      <a:gd name="T28" fmla="*/ 2147483646 w 218"/>
                      <a:gd name="T29" fmla="*/ 2147483646 h 139"/>
                      <a:gd name="T30" fmla="*/ 2147483646 w 218"/>
                      <a:gd name="T31" fmla="*/ 2147483646 h 139"/>
                      <a:gd name="T32" fmla="*/ 2147483646 w 218"/>
                      <a:gd name="T33" fmla="*/ 2147483646 h 139"/>
                      <a:gd name="T34" fmla="*/ 2147483646 w 218"/>
                      <a:gd name="T35" fmla="*/ 2147483646 h 139"/>
                      <a:gd name="T36" fmla="*/ 2147483646 w 218"/>
                      <a:gd name="T37" fmla="*/ 2147483646 h 139"/>
                      <a:gd name="T38" fmla="*/ 2147483646 w 218"/>
                      <a:gd name="T39" fmla="*/ 2147483646 h 139"/>
                      <a:gd name="T40" fmla="*/ 2147483646 w 218"/>
                      <a:gd name="T41" fmla="*/ 2147483646 h 139"/>
                      <a:gd name="T42" fmla="*/ 2147483646 w 218"/>
                      <a:gd name="T43" fmla="*/ 2147483646 h 139"/>
                      <a:gd name="T44" fmla="*/ 2147483646 w 218"/>
                      <a:gd name="T45" fmla="*/ 2147483646 h 139"/>
                      <a:gd name="T46" fmla="*/ 2147483646 w 218"/>
                      <a:gd name="T47" fmla="*/ 2147483646 h 139"/>
                      <a:gd name="T48" fmla="*/ 2147483646 w 218"/>
                      <a:gd name="T49" fmla="*/ 2147483646 h 139"/>
                      <a:gd name="T50" fmla="*/ 2147483646 w 218"/>
                      <a:gd name="T51" fmla="*/ 2147483646 h 139"/>
                      <a:gd name="T52" fmla="*/ 2147483646 w 218"/>
                      <a:gd name="T53" fmla="*/ 2147483646 h 139"/>
                      <a:gd name="T54" fmla="*/ 2147483646 w 218"/>
                      <a:gd name="T55" fmla="*/ 2147483646 h 139"/>
                      <a:gd name="T56" fmla="*/ 2147483646 w 218"/>
                      <a:gd name="T57" fmla="*/ 2147483646 h 139"/>
                      <a:gd name="T58" fmla="*/ 2147483646 w 218"/>
                      <a:gd name="T59" fmla="*/ 2147483646 h 139"/>
                      <a:gd name="T60" fmla="*/ 2147483646 w 218"/>
                      <a:gd name="T61" fmla="*/ 2147483646 h 139"/>
                      <a:gd name="T62" fmla="*/ 2147483646 w 218"/>
                      <a:gd name="T63" fmla="*/ 2147483646 h 139"/>
                      <a:gd name="T64" fmla="*/ 2147483646 w 218"/>
                      <a:gd name="T65" fmla="*/ 2147483646 h 139"/>
                      <a:gd name="T66" fmla="*/ 2147483646 w 218"/>
                      <a:gd name="T67" fmla="*/ 2147483646 h 139"/>
                      <a:gd name="T68" fmla="*/ 2147483646 w 218"/>
                      <a:gd name="T69" fmla="*/ 2147483646 h 139"/>
                      <a:gd name="T70" fmla="*/ 2147483646 w 218"/>
                      <a:gd name="T71" fmla="*/ 2147483646 h 139"/>
                      <a:gd name="T72" fmla="*/ 2147483646 w 218"/>
                      <a:gd name="T73" fmla="*/ 2147483646 h 139"/>
                      <a:gd name="T74" fmla="*/ 2147483646 w 218"/>
                      <a:gd name="T75" fmla="*/ 2147483646 h 139"/>
                      <a:gd name="T76" fmla="*/ 2147483646 w 218"/>
                      <a:gd name="T77" fmla="*/ 2147483646 h 139"/>
                      <a:gd name="T78" fmla="*/ 2147483646 w 218"/>
                      <a:gd name="T79" fmla="*/ 2147483646 h 139"/>
                      <a:gd name="T80" fmla="*/ 2147483646 w 218"/>
                      <a:gd name="T81" fmla="*/ 2147483646 h 139"/>
                      <a:gd name="T82" fmla="*/ 2147483646 w 218"/>
                      <a:gd name="T83" fmla="*/ 2147483646 h 139"/>
                      <a:gd name="T84" fmla="*/ 2147483646 w 218"/>
                      <a:gd name="T85" fmla="*/ 2147483646 h 139"/>
                      <a:gd name="T86" fmla="*/ 2147483646 w 218"/>
                      <a:gd name="T87" fmla="*/ 2147483646 h 139"/>
                      <a:gd name="T88" fmla="*/ 2147483646 w 218"/>
                      <a:gd name="T89" fmla="*/ 2147483646 h 139"/>
                      <a:gd name="T90" fmla="*/ 2147483646 w 218"/>
                      <a:gd name="T91" fmla="*/ 2147483646 h 139"/>
                      <a:gd name="T92" fmla="*/ 2147483646 w 218"/>
                      <a:gd name="T93" fmla="*/ 2147483646 h 139"/>
                      <a:gd name="T94" fmla="*/ 2147483646 w 218"/>
                      <a:gd name="T95" fmla="*/ 0 h 13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8"/>
                      <a:gd name="T145" fmla="*/ 0 h 139"/>
                      <a:gd name="T146" fmla="*/ 218 w 218"/>
                      <a:gd name="T147" fmla="*/ 139 h 13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8" h="139">
                        <a:moveTo>
                          <a:pt x="36" y="0"/>
                        </a:moveTo>
                        <a:lnTo>
                          <a:pt x="39" y="0"/>
                        </a:lnTo>
                        <a:lnTo>
                          <a:pt x="39" y="12"/>
                        </a:lnTo>
                        <a:lnTo>
                          <a:pt x="40" y="12"/>
                        </a:lnTo>
                        <a:lnTo>
                          <a:pt x="42" y="10"/>
                        </a:lnTo>
                        <a:lnTo>
                          <a:pt x="45" y="10"/>
                        </a:lnTo>
                        <a:lnTo>
                          <a:pt x="47" y="9"/>
                        </a:lnTo>
                        <a:lnTo>
                          <a:pt x="50" y="9"/>
                        </a:lnTo>
                        <a:lnTo>
                          <a:pt x="53" y="7"/>
                        </a:lnTo>
                        <a:lnTo>
                          <a:pt x="56" y="9"/>
                        </a:lnTo>
                        <a:lnTo>
                          <a:pt x="59" y="9"/>
                        </a:lnTo>
                        <a:lnTo>
                          <a:pt x="68" y="13"/>
                        </a:lnTo>
                        <a:lnTo>
                          <a:pt x="73" y="15"/>
                        </a:lnTo>
                        <a:lnTo>
                          <a:pt x="83" y="15"/>
                        </a:lnTo>
                        <a:lnTo>
                          <a:pt x="89" y="13"/>
                        </a:lnTo>
                        <a:lnTo>
                          <a:pt x="96" y="13"/>
                        </a:lnTo>
                        <a:lnTo>
                          <a:pt x="99" y="12"/>
                        </a:lnTo>
                        <a:lnTo>
                          <a:pt x="101" y="12"/>
                        </a:lnTo>
                        <a:lnTo>
                          <a:pt x="104" y="13"/>
                        </a:lnTo>
                        <a:lnTo>
                          <a:pt x="105" y="15"/>
                        </a:lnTo>
                        <a:lnTo>
                          <a:pt x="110" y="18"/>
                        </a:lnTo>
                        <a:lnTo>
                          <a:pt x="116" y="20"/>
                        </a:lnTo>
                        <a:lnTo>
                          <a:pt x="121" y="26"/>
                        </a:lnTo>
                        <a:lnTo>
                          <a:pt x="121" y="29"/>
                        </a:lnTo>
                        <a:lnTo>
                          <a:pt x="123" y="28"/>
                        </a:lnTo>
                        <a:lnTo>
                          <a:pt x="126" y="22"/>
                        </a:lnTo>
                        <a:lnTo>
                          <a:pt x="132" y="16"/>
                        </a:lnTo>
                        <a:lnTo>
                          <a:pt x="133" y="16"/>
                        </a:lnTo>
                        <a:lnTo>
                          <a:pt x="136" y="22"/>
                        </a:lnTo>
                        <a:lnTo>
                          <a:pt x="136" y="23"/>
                        </a:lnTo>
                        <a:lnTo>
                          <a:pt x="139" y="23"/>
                        </a:lnTo>
                        <a:lnTo>
                          <a:pt x="141" y="25"/>
                        </a:lnTo>
                        <a:lnTo>
                          <a:pt x="144" y="26"/>
                        </a:lnTo>
                        <a:lnTo>
                          <a:pt x="147" y="29"/>
                        </a:lnTo>
                        <a:lnTo>
                          <a:pt x="147" y="37"/>
                        </a:lnTo>
                        <a:lnTo>
                          <a:pt x="148" y="38"/>
                        </a:lnTo>
                        <a:lnTo>
                          <a:pt x="148" y="40"/>
                        </a:lnTo>
                        <a:lnTo>
                          <a:pt x="151" y="40"/>
                        </a:lnTo>
                        <a:lnTo>
                          <a:pt x="153" y="41"/>
                        </a:lnTo>
                        <a:lnTo>
                          <a:pt x="155" y="41"/>
                        </a:lnTo>
                        <a:lnTo>
                          <a:pt x="160" y="50"/>
                        </a:lnTo>
                        <a:lnTo>
                          <a:pt x="160" y="54"/>
                        </a:lnTo>
                        <a:lnTo>
                          <a:pt x="158" y="59"/>
                        </a:lnTo>
                        <a:lnTo>
                          <a:pt x="158" y="63"/>
                        </a:lnTo>
                        <a:lnTo>
                          <a:pt x="157" y="66"/>
                        </a:lnTo>
                        <a:lnTo>
                          <a:pt x="157" y="71"/>
                        </a:lnTo>
                        <a:lnTo>
                          <a:pt x="155" y="72"/>
                        </a:lnTo>
                        <a:lnTo>
                          <a:pt x="157" y="74"/>
                        </a:lnTo>
                        <a:lnTo>
                          <a:pt x="160" y="74"/>
                        </a:lnTo>
                        <a:lnTo>
                          <a:pt x="163" y="72"/>
                        </a:lnTo>
                        <a:lnTo>
                          <a:pt x="167" y="72"/>
                        </a:lnTo>
                        <a:lnTo>
                          <a:pt x="172" y="71"/>
                        </a:lnTo>
                        <a:lnTo>
                          <a:pt x="178" y="68"/>
                        </a:lnTo>
                        <a:lnTo>
                          <a:pt x="179" y="66"/>
                        </a:lnTo>
                        <a:lnTo>
                          <a:pt x="181" y="66"/>
                        </a:lnTo>
                        <a:lnTo>
                          <a:pt x="181" y="63"/>
                        </a:lnTo>
                        <a:lnTo>
                          <a:pt x="182" y="62"/>
                        </a:lnTo>
                        <a:lnTo>
                          <a:pt x="184" y="59"/>
                        </a:lnTo>
                        <a:lnTo>
                          <a:pt x="187" y="57"/>
                        </a:lnTo>
                        <a:lnTo>
                          <a:pt x="190" y="54"/>
                        </a:lnTo>
                        <a:lnTo>
                          <a:pt x="209" y="54"/>
                        </a:lnTo>
                        <a:lnTo>
                          <a:pt x="207" y="60"/>
                        </a:lnTo>
                        <a:lnTo>
                          <a:pt x="218" y="62"/>
                        </a:lnTo>
                        <a:lnTo>
                          <a:pt x="207" y="68"/>
                        </a:lnTo>
                        <a:lnTo>
                          <a:pt x="207" y="71"/>
                        </a:lnTo>
                        <a:lnTo>
                          <a:pt x="206" y="75"/>
                        </a:lnTo>
                        <a:lnTo>
                          <a:pt x="203" y="78"/>
                        </a:lnTo>
                        <a:lnTo>
                          <a:pt x="201" y="81"/>
                        </a:lnTo>
                        <a:lnTo>
                          <a:pt x="201" y="87"/>
                        </a:lnTo>
                        <a:lnTo>
                          <a:pt x="204" y="96"/>
                        </a:lnTo>
                        <a:lnTo>
                          <a:pt x="204" y="99"/>
                        </a:lnTo>
                        <a:lnTo>
                          <a:pt x="203" y="100"/>
                        </a:lnTo>
                        <a:lnTo>
                          <a:pt x="203" y="102"/>
                        </a:lnTo>
                        <a:lnTo>
                          <a:pt x="197" y="108"/>
                        </a:lnTo>
                        <a:lnTo>
                          <a:pt x="194" y="109"/>
                        </a:lnTo>
                        <a:lnTo>
                          <a:pt x="192" y="111"/>
                        </a:lnTo>
                        <a:lnTo>
                          <a:pt x="181" y="111"/>
                        </a:lnTo>
                        <a:lnTo>
                          <a:pt x="167" y="97"/>
                        </a:lnTo>
                        <a:lnTo>
                          <a:pt x="163" y="103"/>
                        </a:lnTo>
                        <a:lnTo>
                          <a:pt x="158" y="100"/>
                        </a:lnTo>
                        <a:lnTo>
                          <a:pt x="153" y="103"/>
                        </a:lnTo>
                        <a:lnTo>
                          <a:pt x="150" y="100"/>
                        </a:lnTo>
                        <a:lnTo>
                          <a:pt x="144" y="100"/>
                        </a:lnTo>
                        <a:lnTo>
                          <a:pt x="133" y="117"/>
                        </a:lnTo>
                        <a:lnTo>
                          <a:pt x="121" y="117"/>
                        </a:lnTo>
                        <a:lnTo>
                          <a:pt x="116" y="120"/>
                        </a:lnTo>
                        <a:lnTo>
                          <a:pt x="114" y="120"/>
                        </a:lnTo>
                        <a:lnTo>
                          <a:pt x="114" y="121"/>
                        </a:lnTo>
                        <a:lnTo>
                          <a:pt x="113" y="123"/>
                        </a:lnTo>
                        <a:lnTo>
                          <a:pt x="111" y="127"/>
                        </a:lnTo>
                        <a:lnTo>
                          <a:pt x="107" y="136"/>
                        </a:lnTo>
                        <a:lnTo>
                          <a:pt x="105" y="137"/>
                        </a:lnTo>
                        <a:lnTo>
                          <a:pt x="105" y="139"/>
                        </a:lnTo>
                        <a:lnTo>
                          <a:pt x="95" y="133"/>
                        </a:lnTo>
                        <a:lnTo>
                          <a:pt x="96" y="130"/>
                        </a:lnTo>
                        <a:lnTo>
                          <a:pt x="96" y="125"/>
                        </a:lnTo>
                        <a:lnTo>
                          <a:pt x="90" y="125"/>
                        </a:lnTo>
                        <a:lnTo>
                          <a:pt x="89" y="120"/>
                        </a:lnTo>
                        <a:lnTo>
                          <a:pt x="79" y="127"/>
                        </a:lnTo>
                        <a:lnTo>
                          <a:pt x="77" y="125"/>
                        </a:lnTo>
                        <a:lnTo>
                          <a:pt x="77" y="124"/>
                        </a:lnTo>
                        <a:lnTo>
                          <a:pt x="76" y="120"/>
                        </a:lnTo>
                        <a:lnTo>
                          <a:pt x="74" y="117"/>
                        </a:lnTo>
                        <a:lnTo>
                          <a:pt x="74" y="115"/>
                        </a:lnTo>
                        <a:lnTo>
                          <a:pt x="76" y="115"/>
                        </a:lnTo>
                        <a:lnTo>
                          <a:pt x="79" y="112"/>
                        </a:lnTo>
                        <a:lnTo>
                          <a:pt x="73" y="106"/>
                        </a:lnTo>
                        <a:lnTo>
                          <a:pt x="71" y="106"/>
                        </a:lnTo>
                        <a:lnTo>
                          <a:pt x="70" y="108"/>
                        </a:lnTo>
                        <a:lnTo>
                          <a:pt x="65" y="108"/>
                        </a:lnTo>
                        <a:lnTo>
                          <a:pt x="64" y="106"/>
                        </a:lnTo>
                        <a:lnTo>
                          <a:pt x="61" y="105"/>
                        </a:lnTo>
                        <a:lnTo>
                          <a:pt x="58" y="105"/>
                        </a:lnTo>
                        <a:lnTo>
                          <a:pt x="56" y="103"/>
                        </a:lnTo>
                        <a:lnTo>
                          <a:pt x="55" y="103"/>
                        </a:lnTo>
                        <a:lnTo>
                          <a:pt x="36" y="111"/>
                        </a:lnTo>
                        <a:lnTo>
                          <a:pt x="31" y="105"/>
                        </a:lnTo>
                        <a:lnTo>
                          <a:pt x="22" y="109"/>
                        </a:lnTo>
                        <a:lnTo>
                          <a:pt x="16" y="102"/>
                        </a:lnTo>
                        <a:lnTo>
                          <a:pt x="8" y="105"/>
                        </a:lnTo>
                        <a:lnTo>
                          <a:pt x="0" y="103"/>
                        </a:lnTo>
                        <a:lnTo>
                          <a:pt x="0" y="97"/>
                        </a:lnTo>
                        <a:lnTo>
                          <a:pt x="2" y="99"/>
                        </a:lnTo>
                        <a:lnTo>
                          <a:pt x="3" y="99"/>
                        </a:lnTo>
                        <a:lnTo>
                          <a:pt x="8" y="100"/>
                        </a:lnTo>
                        <a:lnTo>
                          <a:pt x="15" y="100"/>
                        </a:lnTo>
                        <a:lnTo>
                          <a:pt x="15" y="99"/>
                        </a:lnTo>
                        <a:lnTo>
                          <a:pt x="16" y="97"/>
                        </a:lnTo>
                        <a:lnTo>
                          <a:pt x="16" y="94"/>
                        </a:lnTo>
                        <a:lnTo>
                          <a:pt x="18" y="90"/>
                        </a:lnTo>
                        <a:lnTo>
                          <a:pt x="19" y="87"/>
                        </a:lnTo>
                        <a:lnTo>
                          <a:pt x="19" y="83"/>
                        </a:lnTo>
                        <a:lnTo>
                          <a:pt x="22" y="78"/>
                        </a:lnTo>
                        <a:lnTo>
                          <a:pt x="31" y="75"/>
                        </a:lnTo>
                        <a:lnTo>
                          <a:pt x="39" y="74"/>
                        </a:lnTo>
                        <a:lnTo>
                          <a:pt x="43" y="72"/>
                        </a:lnTo>
                        <a:lnTo>
                          <a:pt x="56" y="57"/>
                        </a:lnTo>
                        <a:lnTo>
                          <a:pt x="30" y="41"/>
                        </a:lnTo>
                        <a:lnTo>
                          <a:pt x="31" y="40"/>
                        </a:lnTo>
                        <a:lnTo>
                          <a:pt x="31" y="34"/>
                        </a:lnTo>
                        <a:lnTo>
                          <a:pt x="33" y="28"/>
                        </a:lnTo>
                        <a:lnTo>
                          <a:pt x="33" y="20"/>
                        </a:lnTo>
                        <a:lnTo>
                          <a:pt x="36" y="6"/>
                        </a:lnTo>
                        <a:lnTo>
                          <a:pt x="36" y="0"/>
                        </a:lnTo>
                        <a:close/>
                      </a:path>
                    </a:pathLst>
                  </a:custGeom>
                  <a:solidFill>
                    <a:schemeClr val="accent1">
                      <a:lumMod val="75000"/>
                    </a:schemeClr>
                  </a:solidFill>
                  <a:ln w="9525" cap="flat" cmpd="sng">
                    <a:solidFill>
                      <a:schemeClr val="bg1"/>
                    </a:solidFill>
                    <a:prstDash val="solid"/>
                    <a:round/>
                    <a:headEnd type="none" w="med" len="med"/>
                    <a:tailEnd type="none" w="med" len="med"/>
                  </a:ln>
                </p:spPr>
                <p:txBody>
                  <a:bodyPr/>
                  <a:lstStyle/>
                  <a:p>
                    <a:pPr eaLnBrk="1" fontAlgn="auto" hangingPunct="1">
                      <a:spcBef>
                        <a:spcPts val="0"/>
                      </a:spcBef>
                      <a:spcAft>
                        <a:spcPts val="0"/>
                      </a:spcAft>
                      <a:defRPr/>
                    </a:pPr>
                    <a:endParaRPr lang="de-DE" sz="2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endParaRPr lang="de-DE" sz="2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200" kern="0" dirty="0">
                        <a:solidFill>
                          <a:srgbClr val="FFFFFF"/>
                        </a:solidFill>
                        <a:latin typeface="Calibri"/>
                        <a:ea typeface="MS PGothic" charset="0"/>
                        <a:cs typeface="Latha" panose="020B0604020202020204" pitchFamily="34" charset="0"/>
                      </a:rPr>
                      <a:t>                    </a:t>
                    </a:r>
                    <a:r>
                      <a:rPr lang="de-DE" sz="850" kern="0" dirty="0">
                        <a:solidFill>
                          <a:srgbClr val="FFFFFF"/>
                        </a:solidFill>
                        <a:latin typeface="Calibri"/>
                        <a:ea typeface="MS PGothic" charset="0"/>
                        <a:cs typeface="Latha" panose="020B0604020202020204" pitchFamily="34" charset="0"/>
                      </a:rPr>
                      <a:t>Kreis </a:t>
                    </a:r>
                  </a:p>
                  <a:p>
                    <a:pPr eaLnBrk="1" fontAlgn="auto" hangingPunct="1">
                      <a:spcBef>
                        <a:spcPts val="0"/>
                      </a:spcBef>
                      <a:spcAft>
                        <a:spcPts val="0"/>
                      </a:spcAft>
                      <a:defRPr/>
                    </a:pPr>
                    <a:r>
                      <a:rPr lang="de-DE" sz="850" kern="0" dirty="0">
                        <a:solidFill>
                          <a:srgbClr val="FFFFFF"/>
                        </a:solidFill>
                        <a:latin typeface="Calibri"/>
                        <a:ea typeface="MS PGothic" charset="0"/>
                        <a:cs typeface="Latha" panose="020B0604020202020204" pitchFamily="34" charset="0"/>
                      </a:rPr>
                      <a:t>    </a:t>
                    </a:r>
                    <a:r>
                      <a:rPr lang="de-DE" sz="900" kern="0" dirty="0">
                        <a:solidFill>
                          <a:srgbClr val="FFFFFF"/>
                        </a:solidFill>
                        <a:latin typeface="Calibri"/>
                        <a:ea typeface="MS PGothic" charset="0"/>
                        <a:cs typeface="Latha" panose="020B0604020202020204" pitchFamily="34" charset="0"/>
                      </a:rPr>
                      <a:t> </a:t>
                    </a:r>
                    <a:r>
                      <a:rPr lang="de-DE" sz="850" kern="0" dirty="0">
                        <a:solidFill>
                          <a:srgbClr val="FFFFFF"/>
                        </a:solidFill>
                        <a:latin typeface="Calibri"/>
                        <a:ea typeface="MS PGothic" charset="0"/>
                        <a:cs typeface="Latha" panose="020B0604020202020204" pitchFamily="34" charset="0"/>
                      </a:rPr>
                      <a:t>Herford</a:t>
                    </a:r>
                  </a:p>
                </p:txBody>
              </p:sp>
              <p:sp>
                <p:nvSpPr>
                  <p:cNvPr id="111" name="Freeform 290" descr="© INSCALE GmbH, 21.06.2010"/>
                  <p:cNvSpPr>
                    <a:spLocks noChangeAspect="1"/>
                  </p:cNvSpPr>
                  <p:nvPr/>
                </p:nvSpPr>
                <p:spPr bwMode="auto">
                  <a:xfrm>
                    <a:off x="3549652" y="3869335"/>
                    <a:ext cx="405055" cy="269112"/>
                  </a:xfrm>
                  <a:custGeom>
                    <a:avLst/>
                    <a:gdLst>
                      <a:gd name="T0" fmla="*/ 2147483646 w 423"/>
                      <a:gd name="T1" fmla="*/ 2147483646 h 283"/>
                      <a:gd name="T2" fmla="*/ 2147483646 w 423"/>
                      <a:gd name="T3" fmla="*/ 2147483646 h 283"/>
                      <a:gd name="T4" fmla="*/ 2147483646 w 423"/>
                      <a:gd name="T5" fmla="*/ 2147483646 h 283"/>
                      <a:gd name="T6" fmla="*/ 2147483646 w 423"/>
                      <a:gd name="T7" fmla="*/ 2147483646 h 283"/>
                      <a:gd name="T8" fmla="*/ 2147483646 w 423"/>
                      <a:gd name="T9" fmla="*/ 2147483646 h 283"/>
                      <a:gd name="T10" fmla="*/ 2147483646 w 423"/>
                      <a:gd name="T11" fmla="*/ 2147483646 h 283"/>
                      <a:gd name="T12" fmla="*/ 2147483646 w 423"/>
                      <a:gd name="T13" fmla="*/ 2147483646 h 283"/>
                      <a:gd name="T14" fmla="*/ 2147483646 w 423"/>
                      <a:gd name="T15" fmla="*/ 2147483646 h 283"/>
                      <a:gd name="T16" fmla="*/ 2147483646 w 423"/>
                      <a:gd name="T17" fmla="*/ 2147483646 h 283"/>
                      <a:gd name="T18" fmla="*/ 2147483646 w 423"/>
                      <a:gd name="T19" fmla="*/ 2147483646 h 283"/>
                      <a:gd name="T20" fmla="*/ 2147483646 w 423"/>
                      <a:gd name="T21" fmla="*/ 2147483646 h 283"/>
                      <a:gd name="T22" fmla="*/ 2147483646 w 423"/>
                      <a:gd name="T23" fmla="*/ 2147483646 h 283"/>
                      <a:gd name="T24" fmla="*/ 2147483646 w 423"/>
                      <a:gd name="T25" fmla="*/ 2147483646 h 283"/>
                      <a:gd name="T26" fmla="*/ 2147483646 w 423"/>
                      <a:gd name="T27" fmla="*/ 2147483646 h 283"/>
                      <a:gd name="T28" fmla="*/ 2147483646 w 423"/>
                      <a:gd name="T29" fmla="*/ 2147483646 h 283"/>
                      <a:gd name="T30" fmla="*/ 2147483646 w 423"/>
                      <a:gd name="T31" fmla="*/ 2147483646 h 283"/>
                      <a:gd name="T32" fmla="*/ 2147483646 w 423"/>
                      <a:gd name="T33" fmla="*/ 2147483646 h 283"/>
                      <a:gd name="T34" fmla="*/ 2147483646 w 423"/>
                      <a:gd name="T35" fmla="*/ 2147483646 h 283"/>
                      <a:gd name="T36" fmla="*/ 2147483646 w 423"/>
                      <a:gd name="T37" fmla="*/ 2147483646 h 283"/>
                      <a:gd name="T38" fmla="*/ 2147483646 w 423"/>
                      <a:gd name="T39" fmla="*/ 2147483646 h 283"/>
                      <a:gd name="T40" fmla="*/ 2147483646 w 423"/>
                      <a:gd name="T41" fmla="*/ 2147483646 h 283"/>
                      <a:gd name="T42" fmla="*/ 2147483646 w 423"/>
                      <a:gd name="T43" fmla="*/ 2147483646 h 283"/>
                      <a:gd name="T44" fmla="*/ 2147483646 w 423"/>
                      <a:gd name="T45" fmla="*/ 2147483646 h 283"/>
                      <a:gd name="T46" fmla="*/ 2147483646 w 423"/>
                      <a:gd name="T47" fmla="*/ 2147483646 h 283"/>
                      <a:gd name="T48" fmla="*/ 2147483646 w 423"/>
                      <a:gd name="T49" fmla="*/ 2147483646 h 283"/>
                      <a:gd name="T50" fmla="*/ 2147483646 w 423"/>
                      <a:gd name="T51" fmla="*/ 2147483646 h 283"/>
                      <a:gd name="T52" fmla="*/ 2147483646 w 423"/>
                      <a:gd name="T53" fmla="*/ 2147483646 h 283"/>
                      <a:gd name="T54" fmla="*/ 2147483646 w 423"/>
                      <a:gd name="T55" fmla="*/ 2147483646 h 283"/>
                      <a:gd name="T56" fmla="*/ 2147483646 w 423"/>
                      <a:gd name="T57" fmla="*/ 2147483646 h 283"/>
                      <a:gd name="T58" fmla="*/ 2147483646 w 423"/>
                      <a:gd name="T59" fmla="*/ 2147483646 h 283"/>
                      <a:gd name="T60" fmla="*/ 2147483646 w 423"/>
                      <a:gd name="T61" fmla="*/ 2147483646 h 283"/>
                      <a:gd name="T62" fmla="*/ 2147483646 w 423"/>
                      <a:gd name="T63" fmla="*/ 2147483646 h 283"/>
                      <a:gd name="T64" fmla="*/ 2147483646 w 423"/>
                      <a:gd name="T65" fmla="*/ 2147483646 h 283"/>
                      <a:gd name="T66" fmla="*/ 2147483646 w 423"/>
                      <a:gd name="T67" fmla="*/ 2147483646 h 283"/>
                      <a:gd name="T68" fmla="*/ 2147483646 w 423"/>
                      <a:gd name="T69" fmla="*/ 2147483646 h 283"/>
                      <a:gd name="T70" fmla="*/ 2147483646 w 423"/>
                      <a:gd name="T71" fmla="*/ 2147483646 h 283"/>
                      <a:gd name="T72" fmla="*/ 2147483646 w 423"/>
                      <a:gd name="T73" fmla="*/ 2147483646 h 283"/>
                      <a:gd name="T74" fmla="*/ 2147483646 w 423"/>
                      <a:gd name="T75" fmla="*/ 2147483646 h 283"/>
                      <a:gd name="T76" fmla="*/ 2147483646 w 423"/>
                      <a:gd name="T77" fmla="*/ 2147483646 h 283"/>
                      <a:gd name="T78" fmla="*/ 2147483646 w 423"/>
                      <a:gd name="T79" fmla="*/ 2147483646 h 283"/>
                      <a:gd name="T80" fmla="*/ 2147483646 w 423"/>
                      <a:gd name="T81" fmla="*/ 2147483646 h 283"/>
                      <a:gd name="T82" fmla="*/ 2147483646 w 423"/>
                      <a:gd name="T83" fmla="*/ 2147483646 h 283"/>
                      <a:gd name="T84" fmla="*/ 2147483646 w 423"/>
                      <a:gd name="T85" fmla="*/ 2147483646 h 283"/>
                      <a:gd name="T86" fmla="*/ 2147483646 w 423"/>
                      <a:gd name="T87" fmla="*/ 2147483646 h 283"/>
                      <a:gd name="T88" fmla="*/ 2147483646 w 423"/>
                      <a:gd name="T89" fmla="*/ 2147483646 h 283"/>
                      <a:gd name="T90" fmla="*/ 2147483646 w 423"/>
                      <a:gd name="T91" fmla="*/ 2147483646 h 283"/>
                      <a:gd name="T92" fmla="*/ 2147483646 w 423"/>
                      <a:gd name="T93" fmla="*/ 2147483646 h 283"/>
                      <a:gd name="T94" fmla="*/ 2147483646 w 423"/>
                      <a:gd name="T95" fmla="*/ 2147483646 h 283"/>
                      <a:gd name="T96" fmla="*/ 2147483646 w 423"/>
                      <a:gd name="T97" fmla="*/ 2147483646 h 283"/>
                      <a:gd name="T98" fmla="*/ 2147483646 w 423"/>
                      <a:gd name="T99" fmla="*/ 2147483646 h 283"/>
                      <a:gd name="T100" fmla="*/ 2147483646 w 423"/>
                      <a:gd name="T101" fmla="*/ 2147483646 h 283"/>
                      <a:gd name="T102" fmla="*/ 2147483646 w 423"/>
                      <a:gd name="T103" fmla="*/ 2147483646 h 283"/>
                      <a:gd name="T104" fmla="*/ 2147483646 w 423"/>
                      <a:gd name="T105" fmla="*/ 2147483646 h 283"/>
                      <a:gd name="T106" fmla="*/ 2147483646 w 423"/>
                      <a:gd name="T107" fmla="*/ 2147483646 h 2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23"/>
                      <a:gd name="T163" fmla="*/ 0 h 283"/>
                      <a:gd name="T164" fmla="*/ 423 w 423"/>
                      <a:gd name="T165" fmla="*/ 283 h 2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23" h="283">
                        <a:moveTo>
                          <a:pt x="386" y="0"/>
                        </a:moveTo>
                        <a:lnTo>
                          <a:pt x="401" y="0"/>
                        </a:lnTo>
                        <a:lnTo>
                          <a:pt x="402" y="11"/>
                        </a:lnTo>
                        <a:lnTo>
                          <a:pt x="407" y="12"/>
                        </a:lnTo>
                        <a:lnTo>
                          <a:pt x="423" y="27"/>
                        </a:lnTo>
                        <a:lnTo>
                          <a:pt x="402" y="45"/>
                        </a:lnTo>
                        <a:lnTo>
                          <a:pt x="401" y="48"/>
                        </a:lnTo>
                        <a:lnTo>
                          <a:pt x="401" y="49"/>
                        </a:lnTo>
                        <a:lnTo>
                          <a:pt x="402" y="52"/>
                        </a:lnTo>
                        <a:lnTo>
                          <a:pt x="408" y="58"/>
                        </a:lnTo>
                        <a:lnTo>
                          <a:pt x="408" y="61"/>
                        </a:lnTo>
                        <a:lnTo>
                          <a:pt x="410" y="64"/>
                        </a:lnTo>
                        <a:lnTo>
                          <a:pt x="413" y="77"/>
                        </a:lnTo>
                        <a:lnTo>
                          <a:pt x="422" y="79"/>
                        </a:lnTo>
                        <a:lnTo>
                          <a:pt x="420" y="98"/>
                        </a:lnTo>
                        <a:lnTo>
                          <a:pt x="400" y="98"/>
                        </a:lnTo>
                        <a:lnTo>
                          <a:pt x="398" y="99"/>
                        </a:lnTo>
                        <a:lnTo>
                          <a:pt x="395" y="101"/>
                        </a:lnTo>
                        <a:lnTo>
                          <a:pt x="394" y="102"/>
                        </a:lnTo>
                        <a:lnTo>
                          <a:pt x="388" y="105"/>
                        </a:lnTo>
                        <a:lnTo>
                          <a:pt x="386" y="105"/>
                        </a:lnTo>
                        <a:lnTo>
                          <a:pt x="383" y="104"/>
                        </a:lnTo>
                        <a:lnTo>
                          <a:pt x="379" y="102"/>
                        </a:lnTo>
                        <a:lnTo>
                          <a:pt x="373" y="99"/>
                        </a:lnTo>
                        <a:lnTo>
                          <a:pt x="370" y="99"/>
                        </a:lnTo>
                        <a:lnTo>
                          <a:pt x="364" y="101"/>
                        </a:lnTo>
                        <a:lnTo>
                          <a:pt x="355" y="104"/>
                        </a:lnTo>
                        <a:lnTo>
                          <a:pt x="346" y="105"/>
                        </a:lnTo>
                        <a:lnTo>
                          <a:pt x="336" y="107"/>
                        </a:lnTo>
                        <a:lnTo>
                          <a:pt x="320" y="107"/>
                        </a:lnTo>
                        <a:lnTo>
                          <a:pt x="317" y="108"/>
                        </a:lnTo>
                        <a:lnTo>
                          <a:pt x="315" y="111"/>
                        </a:lnTo>
                        <a:lnTo>
                          <a:pt x="315" y="117"/>
                        </a:lnTo>
                        <a:lnTo>
                          <a:pt x="312" y="119"/>
                        </a:lnTo>
                        <a:lnTo>
                          <a:pt x="309" y="121"/>
                        </a:lnTo>
                        <a:lnTo>
                          <a:pt x="309" y="123"/>
                        </a:lnTo>
                        <a:lnTo>
                          <a:pt x="308" y="124"/>
                        </a:lnTo>
                        <a:lnTo>
                          <a:pt x="308" y="127"/>
                        </a:lnTo>
                        <a:lnTo>
                          <a:pt x="306" y="129"/>
                        </a:lnTo>
                        <a:lnTo>
                          <a:pt x="299" y="129"/>
                        </a:lnTo>
                        <a:lnTo>
                          <a:pt x="297" y="130"/>
                        </a:lnTo>
                        <a:lnTo>
                          <a:pt x="296" y="130"/>
                        </a:lnTo>
                        <a:lnTo>
                          <a:pt x="293" y="133"/>
                        </a:lnTo>
                        <a:lnTo>
                          <a:pt x="292" y="136"/>
                        </a:lnTo>
                        <a:lnTo>
                          <a:pt x="290" y="142"/>
                        </a:lnTo>
                        <a:lnTo>
                          <a:pt x="283" y="150"/>
                        </a:lnTo>
                        <a:lnTo>
                          <a:pt x="281" y="153"/>
                        </a:lnTo>
                        <a:lnTo>
                          <a:pt x="278" y="155"/>
                        </a:lnTo>
                        <a:lnTo>
                          <a:pt x="275" y="160"/>
                        </a:lnTo>
                        <a:lnTo>
                          <a:pt x="274" y="163"/>
                        </a:lnTo>
                        <a:lnTo>
                          <a:pt x="269" y="167"/>
                        </a:lnTo>
                        <a:lnTo>
                          <a:pt x="269" y="170"/>
                        </a:lnTo>
                        <a:lnTo>
                          <a:pt x="278" y="179"/>
                        </a:lnTo>
                        <a:lnTo>
                          <a:pt x="278" y="184"/>
                        </a:lnTo>
                        <a:lnTo>
                          <a:pt x="280" y="185"/>
                        </a:lnTo>
                        <a:lnTo>
                          <a:pt x="280" y="188"/>
                        </a:lnTo>
                        <a:lnTo>
                          <a:pt x="281" y="188"/>
                        </a:lnTo>
                        <a:lnTo>
                          <a:pt x="284" y="189"/>
                        </a:lnTo>
                        <a:lnTo>
                          <a:pt x="290" y="189"/>
                        </a:lnTo>
                        <a:lnTo>
                          <a:pt x="292" y="187"/>
                        </a:lnTo>
                        <a:lnTo>
                          <a:pt x="293" y="185"/>
                        </a:lnTo>
                        <a:lnTo>
                          <a:pt x="296" y="184"/>
                        </a:lnTo>
                        <a:lnTo>
                          <a:pt x="299" y="181"/>
                        </a:lnTo>
                        <a:lnTo>
                          <a:pt x="306" y="181"/>
                        </a:lnTo>
                        <a:lnTo>
                          <a:pt x="309" y="179"/>
                        </a:lnTo>
                        <a:lnTo>
                          <a:pt x="311" y="178"/>
                        </a:lnTo>
                        <a:lnTo>
                          <a:pt x="317" y="178"/>
                        </a:lnTo>
                        <a:lnTo>
                          <a:pt x="318" y="175"/>
                        </a:lnTo>
                        <a:lnTo>
                          <a:pt x="321" y="173"/>
                        </a:lnTo>
                        <a:lnTo>
                          <a:pt x="333" y="173"/>
                        </a:lnTo>
                        <a:lnTo>
                          <a:pt x="334" y="175"/>
                        </a:lnTo>
                        <a:lnTo>
                          <a:pt x="334" y="179"/>
                        </a:lnTo>
                        <a:lnTo>
                          <a:pt x="336" y="181"/>
                        </a:lnTo>
                        <a:lnTo>
                          <a:pt x="339" y="181"/>
                        </a:lnTo>
                        <a:lnTo>
                          <a:pt x="339" y="182"/>
                        </a:lnTo>
                        <a:lnTo>
                          <a:pt x="337" y="182"/>
                        </a:lnTo>
                        <a:lnTo>
                          <a:pt x="337" y="188"/>
                        </a:lnTo>
                        <a:lnTo>
                          <a:pt x="339" y="191"/>
                        </a:lnTo>
                        <a:lnTo>
                          <a:pt x="339" y="198"/>
                        </a:lnTo>
                        <a:lnTo>
                          <a:pt x="340" y="201"/>
                        </a:lnTo>
                        <a:lnTo>
                          <a:pt x="340" y="207"/>
                        </a:lnTo>
                        <a:lnTo>
                          <a:pt x="342" y="209"/>
                        </a:lnTo>
                        <a:lnTo>
                          <a:pt x="349" y="215"/>
                        </a:lnTo>
                        <a:lnTo>
                          <a:pt x="345" y="221"/>
                        </a:lnTo>
                        <a:lnTo>
                          <a:pt x="345" y="231"/>
                        </a:lnTo>
                        <a:lnTo>
                          <a:pt x="343" y="235"/>
                        </a:lnTo>
                        <a:lnTo>
                          <a:pt x="334" y="244"/>
                        </a:lnTo>
                        <a:lnTo>
                          <a:pt x="331" y="249"/>
                        </a:lnTo>
                        <a:lnTo>
                          <a:pt x="328" y="252"/>
                        </a:lnTo>
                        <a:lnTo>
                          <a:pt x="326" y="256"/>
                        </a:lnTo>
                        <a:lnTo>
                          <a:pt x="323" y="258"/>
                        </a:lnTo>
                        <a:lnTo>
                          <a:pt x="321" y="260"/>
                        </a:lnTo>
                        <a:lnTo>
                          <a:pt x="326" y="271"/>
                        </a:lnTo>
                        <a:lnTo>
                          <a:pt x="330" y="272"/>
                        </a:lnTo>
                        <a:lnTo>
                          <a:pt x="330" y="274"/>
                        </a:lnTo>
                        <a:lnTo>
                          <a:pt x="328" y="274"/>
                        </a:lnTo>
                        <a:lnTo>
                          <a:pt x="326" y="275"/>
                        </a:lnTo>
                        <a:lnTo>
                          <a:pt x="320" y="275"/>
                        </a:lnTo>
                        <a:lnTo>
                          <a:pt x="306" y="283"/>
                        </a:lnTo>
                        <a:lnTo>
                          <a:pt x="302" y="283"/>
                        </a:lnTo>
                        <a:lnTo>
                          <a:pt x="293" y="281"/>
                        </a:lnTo>
                        <a:lnTo>
                          <a:pt x="272" y="278"/>
                        </a:lnTo>
                        <a:lnTo>
                          <a:pt x="266" y="278"/>
                        </a:lnTo>
                        <a:lnTo>
                          <a:pt x="257" y="268"/>
                        </a:lnTo>
                        <a:lnTo>
                          <a:pt x="243" y="256"/>
                        </a:lnTo>
                        <a:lnTo>
                          <a:pt x="241" y="250"/>
                        </a:lnTo>
                        <a:lnTo>
                          <a:pt x="235" y="250"/>
                        </a:lnTo>
                        <a:lnTo>
                          <a:pt x="225" y="258"/>
                        </a:lnTo>
                        <a:lnTo>
                          <a:pt x="219" y="252"/>
                        </a:lnTo>
                        <a:lnTo>
                          <a:pt x="213" y="256"/>
                        </a:lnTo>
                        <a:lnTo>
                          <a:pt x="192" y="277"/>
                        </a:lnTo>
                        <a:lnTo>
                          <a:pt x="184" y="281"/>
                        </a:lnTo>
                        <a:lnTo>
                          <a:pt x="175" y="281"/>
                        </a:lnTo>
                        <a:lnTo>
                          <a:pt x="166" y="280"/>
                        </a:lnTo>
                        <a:lnTo>
                          <a:pt x="155" y="278"/>
                        </a:lnTo>
                        <a:lnTo>
                          <a:pt x="147" y="277"/>
                        </a:lnTo>
                        <a:lnTo>
                          <a:pt x="142" y="277"/>
                        </a:lnTo>
                        <a:lnTo>
                          <a:pt x="141" y="269"/>
                        </a:lnTo>
                        <a:lnTo>
                          <a:pt x="133" y="263"/>
                        </a:lnTo>
                        <a:lnTo>
                          <a:pt x="126" y="262"/>
                        </a:lnTo>
                        <a:lnTo>
                          <a:pt x="126" y="260"/>
                        </a:lnTo>
                        <a:lnTo>
                          <a:pt x="124" y="259"/>
                        </a:lnTo>
                        <a:lnTo>
                          <a:pt x="124" y="256"/>
                        </a:lnTo>
                        <a:lnTo>
                          <a:pt x="121" y="250"/>
                        </a:lnTo>
                        <a:lnTo>
                          <a:pt x="120" y="249"/>
                        </a:lnTo>
                        <a:lnTo>
                          <a:pt x="117" y="249"/>
                        </a:lnTo>
                        <a:lnTo>
                          <a:pt x="115" y="250"/>
                        </a:lnTo>
                        <a:lnTo>
                          <a:pt x="114" y="250"/>
                        </a:lnTo>
                        <a:lnTo>
                          <a:pt x="111" y="253"/>
                        </a:lnTo>
                        <a:lnTo>
                          <a:pt x="104" y="253"/>
                        </a:lnTo>
                        <a:lnTo>
                          <a:pt x="99" y="249"/>
                        </a:lnTo>
                        <a:lnTo>
                          <a:pt x="108" y="231"/>
                        </a:lnTo>
                        <a:lnTo>
                          <a:pt x="98" y="221"/>
                        </a:lnTo>
                        <a:lnTo>
                          <a:pt x="96" y="218"/>
                        </a:lnTo>
                        <a:lnTo>
                          <a:pt x="90" y="212"/>
                        </a:lnTo>
                        <a:lnTo>
                          <a:pt x="90" y="203"/>
                        </a:lnTo>
                        <a:lnTo>
                          <a:pt x="92" y="200"/>
                        </a:lnTo>
                        <a:lnTo>
                          <a:pt x="95" y="198"/>
                        </a:lnTo>
                        <a:lnTo>
                          <a:pt x="96" y="195"/>
                        </a:lnTo>
                        <a:lnTo>
                          <a:pt x="98" y="194"/>
                        </a:lnTo>
                        <a:lnTo>
                          <a:pt x="98" y="191"/>
                        </a:lnTo>
                        <a:lnTo>
                          <a:pt x="96" y="191"/>
                        </a:lnTo>
                        <a:lnTo>
                          <a:pt x="95" y="189"/>
                        </a:lnTo>
                        <a:lnTo>
                          <a:pt x="92" y="188"/>
                        </a:lnTo>
                        <a:lnTo>
                          <a:pt x="86" y="188"/>
                        </a:lnTo>
                        <a:lnTo>
                          <a:pt x="84" y="189"/>
                        </a:lnTo>
                        <a:lnTo>
                          <a:pt x="83" y="189"/>
                        </a:lnTo>
                        <a:lnTo>
                          <a:pt x="77" y="184"/>
                        </a:lnTo>
                        <a:lnTo>
                          <a:pt x="71" y="184"/>
                        </a:lnTo>
                        <a:lnTo>
                          <a:pt x="71" y="189"/>
                        </a:lnTo>
                        <a:lnTo>
                          <a:pt x="68" y="189"/>
                        </a:lnTo>
                        <a:lnTo>
                          <a:pt x="67" y="191"/>
                        </a:lnTo>
                        <a:lnTo>
                          <a:pt x="62" y="191"/>
                        </a:lnTo>
                        <a:lnTo>
                          <a:pt x="62" y="189"/>
                        </a:lnTo>
                        <a:lnTo>
                          <a:pt x="61" y="188"/>
                        </a:lnTo>
                        <a:lnTo>
                          <a:pt x="61" y="185"/>
                        </a:lnTo>
                        <a:lnTo>
                          <a:pt x="56" y="185"/>
                        </a:lnTo>
                        <a:lnTo>
                          <a:pt x="55" y="187"/>
                        </a:lnTo>
                        <a:lnTo>
                          <a:pt x="52" y="188"/>
                        </a:lnTo>
                        <a:lnTo>
                          <a:pt x="47" y="192"/>
                        </a:lnTo>
                        <a:lnTo>
                          <a:pt x="46" y="192"/>
                        </a:lnTo>
                        <a:lnTo>
                          <a:pt x="41" y="188"/>
                        </a:lnTo>
                        <a:lnTo>
                          <a:pt x="28" y="188"/>
                        </a:lnTo>
                        <a:lnTo>
                          <a:pt x="28" y="189"/>
                        </a:lnTo>
                        <a:lnTo>
                          <a:pt x="25" y="189"/>
                        </a:lnTo>
                        <a:lnTo>
                          <a:pt x="24" y="191"/>
                        </a:lnTo>
                        <a:lnTo>
                          <a:pt x="21" y="191"/>
                        </a:lnTo>
                        <a:lnTo>
                          <a:pt x="21" y="184"/>
                        </a:lnTo>
                        <a:lnTo>
                          <a:pt x="16" y="185"/>
                        </a:lnTo>
                        <a:lnTo>
                          <a:pt x="15" y="184"/>
                        </a:lnTo>
                        <a:lnTo>
                          <a:pt x="15" y="179"/>
                        </a:lnTo>
                        <a:lnTo>
                          <a:pt x="18" y="176"/>
                        </a:lnTo>
                        <a:lnTo>
                          <a:pt x="18" y="173"/>
                        </a:lnTo>
                        <a:lnTo>
                          <a:pt x="12" y="164"/>
                        </a:lnTo>
                        <a:lnTo>
                          <a:pt x="13" y="163"/>
                        </a:lnTo>
                        <a:lnTo>
                          <a:pt x="16" y="161"/>
                        </a:lnTo>
                        <a:lnTo>
                          <a:pt x="16" y="150"/>
                        </a:lnTo>
                        <a:lnTo>
                          <a:pt x="10" y="145"/>
                        </a:lnTo>
                        <a:lnTo>
                          <a:pt x="24" y="139"/>
                        </a:lnTo>
                        <a:lnTo>
                          <a:pt x="24" y="138"/>
                        </a:lnTo>
                        <a:lnTo>
                          <a:pt x="25" y="136"/>
                        </a:lnTo>
                        <a:lnTo>
                          <a:pt x="25" y="133"/>
                        </a:lnTo>
                        <a:lnTo>
                          <a:pt x="24" y="130"/>
                        </a:lnTo>
                        <a:lnTo>
                          <a:pt x="21" y="127"/>
                        </a:lnTo>
                        <a:lnTo>
                          <a:pt x="18" y="126"/>
                        </a:lnTo>
                        <a:lnTo>
                          <a:pt x="13" y="121"/>
                        </a:lnTo>
                        <a:lnTo>
                          <a:pt x="13" y="102"/>
                        </a:lnTo>
                        <a:lnTo>
                          <a:pt x="9" y="92"/>
                        </a:lnTo>
                        <a:lnTo>
                          <a:pt x="9" y="68"/>
                        </a:lnTo>
                        <a:lnTo>
                          <a:pt x="6" y="59"/>
                        </a:lnTo>
                        <a:lnTo>
                          <a:pt x="3" y="55"/>
                        </a:lnTo>
                        <a:lnTo>
                          <a:pt x="0" y="49"/>
                        </a:lnTo>
                        <a:lnTo>
                          <a:pt x="0" y="48"/>
                        </a:lnTo>
                        <a:lnTo>
                          <a:pt x="2" y="48"/>
                        </a:lnTo>
                        <a:lnTo>
                          <a:pt x="5" y="45"/>
                        </a:lnTo>
                        <a:lnTo>
                          <a:pt x="10" y="33"/>
                        </a:lnTo>
                        <a:lnTo>
                          <a:pt x="13" y="31"/>
                        </a:lnTo>
                        <a:lnTo>
                          <a:pt x="15" y="31"/>
                        </a:lnTo>
                        <a:lnTo>
                          <a:pt x="18" y="33"/>
                        </a:lnTo>
                        <a:lnTo>
                          <a:pt x="21" y="36"/>
                        </a:lnTo>
                        <a:lnTo>
                          <a:pt x="24" y="37"/>
                        </a:lnTo>
                        <a:lnTo>
                          <a:pt x="28" y="42"/>
                        </a:lnTo>
                        <a:lnTo>
                          <a:pt x="34" y="46"/>
                        </a:lnTo>
                        <a:lnTo>
                          <a:pt x="40" y="42"/>
                        </a:lnTo>
                        <a:lnTo>
                          <a:pt x="47" y="45"/>
                        </a:lnTo>
                        <a:lnTo>
                          <a:pt x="55" y="40"/>
                        </a:lnTo>
                        <a:lnTo>
                          <a:pt x="74" y="58"/>
                        </a:lnTo>
                        <a:lnTo>
                          <a:pt x="99" y="58"/>
                        </a:lnTo>
                        <a:lnTo>
                          <a:pt x="102" y="62"/>
                        </a:lnTo>
                        <a:lnTo>
                          <a:pt x="117" y="65"/>
                        </a:lnTo>
                        <a:lnTo>
                          <a:pt x="123" y="73"/>
                        </a:lnTo>
                        <a:lnTo>
                          <a:pt x="124" y="73"/>
                        </a:lnTo>
                        <a:lnTo>
                          <a:pt x="127" y="76"/>
                        </a:lnTo>
                        <a:lnTo>
                          <a:pt x="130" y="76"/>
                        </a:lnTo>
                        <a:lnTo>
                          <a:pt x="133" y="79"/>
                        </a:lnTo>
                        <a:lnTo>
                          <a:pt x="133" y="80"/>
                        </a:lnTo>
                        <a:lnTo>
                          <a:pt x="141" y="87"/>
                        </a:lnTo>
                        <a:lnTo>
                          <a:pt x="161" y="87"/>
                        </a:lnTo>
                        <a:lnTo>
                          <a:pt x="169" y="95"/>
                        </a:lnTo>
                        <a:lnTo>
                          <a:pt x="172" y="95"/>
                        </a:lnTo>
                        <a:lnTo>
                          <a:pt x="176" y="93"/>
                        </a:lnTo>
                        <a:lnTo>
                          <a:pt x="192" y="93"/>
                        </a:lnTo>
                        <a:lnTo>
                          <a:pt x="197" y="92"/>
                        </a:lnTo>
                        <a:lnTo>
                          <a:pt x="203" y="89"/>
                        </a:lnTo>
                        <a:lnTo>
                          <a:pt x="204" y="87"/>
                        </a:lnTo>
                        <a:lnTo>
                          <a:pt x="216" y="87"/>
                        </a:lnTo>
                        <a:lnTo>
                          <a:pt x="216" y="86"/>
                        </a:lnTo>
                        <a:lnTo>
                          <a:pt x="218" y="84"/>
                        </a:lnTo>
                        <a:lnTo>
                          <a:pt x="221" y="83"/>
                        </a:lnTo>
                        <a:lnTo>
                          <a:pt x="223" y="80"/>
                        </a:lnTo>
                        <a:lnTo>
                          <a:pt x="225" y="80"/>
                        </a:lnTo>
                        <a:lnTo>
                          <a:pt x="228" y="79"/>
                        </a:lnTo>
                        <a:lnTo>
                          <a:pt x="229" y="77"/>
                        </a:lnTo>
                        <a:lnTo>
                          <a:pt x="229" y="76"/>
                        </a:lnTo>
                        <a:lnTo>
                          <a:pt x="231" y="74"/>
                        </a:lnTo>
                        <a:lnTo>
                          <a:pt x="232" y="71"/>
                        </a:lnTo>
                        <a:lnTo>
                          <a:pt x="235" y="67"/>
                        </a:lnTo>
                        <a:lnTo>
                          <a:pt x="240" y="64"/>
                        </a:lnTo>
                        <a:lnTo>
                          <a:pt x="244" y="62"/>
                        </a:lnTo>
                        <a:lnTo>
                          <a:pt x="252" y="59"/>
                        </a:lnTo>
                        <a:lnTo>
                          <a:pt x="259" y="55"/>
                        </a:lnTo>
                        <a:lnTo>
                          <a:pt x="265" y="50"/>
                        </a:lnTo>
                        <a:lnTo>
                          <a:pt x="268" y="49"/>
                        </a:lnTo>
                        <a:lnTo>
                          <a:pt x="275" y="50"/>
                        </a:lnTo>
                        <a:lnTo>
                          <a:pt x="277" y="48"/>
                        </a:lnTo>
                        <a:lnTo>
                          <a:pt x="283" y="42"/>
                        </a:lnTo>
                        <a:lnTo>
                          <a:pt x="311" y="42"/>
                        </a:lnTo>
                        <a:lnTo>
                          <a:pt x="312" y="43"/>
                        </a:lnTo>
                        <a:lnTo>
                          <a:pt x="314" y="46"/>
                        </a:lnTo>
                        <a:lnTo>
                          <a:pt x="315" y="48"/>
                        </a:lnTo>
                        <a:lnTo>
                          <a:pt x="317" y="48"/>
                        </a:lnTo>
                        <a:lnTo>
                          <a:pt x="320" y="49"/>
                        </a:lnTo>
                        <a:lnTo>
                          <a:pt x="324" y="49"/>
                        </a:lnTo>
                        <a:lnTo>
                          <a:pt x="326" y="50"/>
                        </a:lnTo>
                        <a:lnTo>
                          <a:pt x="328" y="52"/>
                        </a:lnTo>
                        <a:lnTo>
                          <a:pt x="333" y="53"/>
                        </a:lnTo>
                        <a:lnTo>
                          <a:pt x="345" y="53"/>
                        </a:lnTo>
                        <a:lnTo>
                          <a:pt x="348" y="55"/>
                        </a:lnTo>
                        <a:lnTo>
                          <a:pt x="351" y="58"/>
                        </a:lnTo>
                        <a:lnTo>
                          <a:pt x="351" y="59"/>
                        </a:lnTo>
                        <a:lnTo>
                          <a:pt x="354" y="62"/>
                        </a:lnTo>
                        <a:lnTo>
                          <a:pt x="370" y="46"/>
                        </a:lnTo>
                        <a:lnTo>
                          <a:pt x="373" y="40"/>
                        </a:lnTo>
                        <a:lnTo>
                          <a:pt x="376" y="36"/>
                        </a:lnTo>
                        <a:lnTo>
                          <a:pt x="380" y="31"/>
                        </a:lnTo>
                        <a:lnTo>
                          <a:pt x="374" y="22"/>
                        </a:lnTo>
                        <a:lnTo>
                          <a:pt x="373" y="22"/>
                        </a:lnTo>
                        <a:lnTo>
                          <a:pt x="368" y="18"/>
                        </a:lnTo>
                        <a:lnTo>
                          <a:pt x="368" y="15"/>
                        </a:lnTo>
                        <a:lnTo>
                          <a:pt x="371" y="9"/>
                        </a:lnTo>
                        <a:lnTo>
                          <a:pt x="373" y="8"/>
                        </a:lnTo>
                        <a:lnTo>
                          <a:pt x="373" y="6"/>
                        </a:lnTo>
                        <a:lnTo>
                          <a:pt x="385" y="8"/>
                        </a:lnTo>
                        <a:lnTo>
                          <a:pt x="386" y="0"/>
                        </a:lnTo>
                        <a:close/>
                      </a:path>
                    </a:pathLst>
                  </a:custGeom>
                  <a:solidFill>
                    <a:srgbClr val="FFC000"/>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2" name="Freeform 291" descr="© INSCALE GmbH, 21.06.2010"/>
                  <p:cNvSpPr>
                    <a:spLocks noChangeAspect="1"/>
                  </p:cNvSpPr>
                  <p:nvPr/>
                </p:nvSpPr>
                <p:spPr bwMode="auto">
                  <a:xfrm>
                    <a:off x="3759116" y="3675131"/>
                    <a:ext cx="224719" cy="253853"/>
                  </a:xfrm>
                  <a:custGeom>
                    <a:avLst/>
                    <a:gdLst>
                      <a:gd name="T0" fmla="*/ 2147483646 w 232"/>
                      <a:gd name="T1" fmla="*/ 2147483646 h 266"/>
                      <a:gd name="T2" fmla="*/ 2147483646 w 232"/>
                      <a:gd name="T3" fmla="*/ 2147483646 h 266"/>
                      <a:gd name="T4" fmla="*/ 2147483646 w 232"/>
                      <a:gd name="T5" fmla="*/ 2147483646 h 266"/>
                      <a:gd name="T6" fmla="*/ 2147483646 w 232"/>
                      <a:gd name="T7" fmla="*/ 2147483646 h 266"/>
                      <a:gd name="T8" fmla="*/ 2147483646 w 232"/>
                      <a:gd name="T9" fmla="*/ 2147483646 h 266"/>
                      <a:gd name="T10" fmla="*/ 2147483646 w 232"/>
                      <a:gd name="T11" fmla="*/ 2147483646 h 266"/>
                      <a:gd name="T12" fmla="*/ 2147483646 w 232"/>
                      <a:gd name="T13" fmla="*/ 2147483646 h 266"/>
                      <a:gd name="T14" fmla="*/ 2147483646 w 232"/>
                      <a:gd name="T15" fmla="*/ 2147483646 h 266"/>
                      <a:gd name="T16" fmla="*/ 2147483646 w 232"/>
                      <a:gd name="T17" fmla="*/ 2147483646 h 266"/>
                      <a:gd name="T18" fmla="*/ 2147483646 w 232"/>
                      <a:gd name="T19" fmla="*/ 2147483646 h 266"/>
                      <a:gd name="T20" fmla="*/ 2147483646 w 232"/>
                      <a:gd name="T21" fmla="*/ 2147483646 h 266"/>
                      <a:gd name="T22" fmla="*/ 2147483646 w 232"/>
                      <a:gd name="T23" fmla="*/ 2147483646 h 266"/>
                      <a:gd name="T24" fmla="*/ 2147483646 w 232"/>
                      <a:gd name="T25" fmla="*/ 2147483646 h 266"/>
                      <a:gd name="T26" fmla="*/ 2147483646 w 232"/>
                      <a:gd name="T27" fmla="*/ 2147483646 h 266"/>
                      <a:gd name="T28" fmla="*/ 2147483646 w 232"/>
                      <a:gd name="T29" fmla="*/ 2147483646 h 266"/>
                      <a:gd name="T30" fmla="*/ 2147483646 w 232"/>
                      <a:gd name="T31" fmla="*/ 2147483646 h 266"/>
                      <a:gd name="T32" fmla="*/ 2147483646 w 232"/>
                      <a:gd name="T33" fmla="*/ 2147483646 h 266"/>
                      <a:gd name="T34" fmla="*/ 2147483646 w 232"/>
                      <a:gd name="T35" fmla="*/ 2147483646 h 266"/>
                      <a:gd name="T36" fmla="*/ 2147483646 w 232"/>
                      <a:gd name="T37" fmla="*/ 2147483646 h 266"/>
                      <a:gd name="T38" fmla="*/ 2147483646 w 232"/>
                      <a:gd name="T39" fmla="*/ 2147483646 h 266"/>
                      <a:gd name="T40" fmla="*/ 2147483646 w 232"/>
                      <a:gd name="T41" fmla="*/ 2147483646 h 266"/>
                      <a:gd name="T42" fmla="*/ 2147483646 w 232"/>
                      <a:gd name="T43" fmla="*/ 2147483646 h 266"/>
                      <a:gd name="T44" fmla="*/ 2147483646 w 232"/>
                      <a:gd name="T45" fmla="*/ 2147483646 h 266"/>
                      <a:gd name="T46" fmla="*/ 2147483646 w 232"/>
                      <a:gd name="T47" fmla="*/ 2147483646 h 266"/>
                      <a:gd name="T48" fmla="*/ 2147483646 w 232"/>
                      <a:gd name="T49" fmla="*/ 2147483646 h 266"/>
                      <a:gd name="T50" fmla="*/ 2147483646 w 232"/>
                      <a:gd name="T51" fmla="*/ 2147483646 h 266"/>
                      <a:gd name="T52" fmla="*/ 2147483646 w 232"/>
                      <a:gd name="T53" fmla="*/ 2147483646 h 266"/>
                      <a:gd name="T54" fmla="*/ 2147483646 w 232"/>
                      <a:gd name="T55" fmla="*/ 2147483646 h 266"/>
                      <a:gd name="T56" fmla="*/ 2147483646 w 232"/>
                      <a:gd name="T57" fmla="*/ 2147483646 h 266"/>
                      <a:gd name="T58" fmla="*/ 2147483646 w 232"/>
                      <a:gd name="T59" fmla="*/ 2147483646 h 266"/>
                      <a:gd name="T60" fmla="*/ 2147483646 w 232"/>
                      <a:gd name="T61" fmla="*/ 2147483646 h 266"/>
                      <a:gd name="T62" fmla="*/ 2147483646 w 232"/>
                      <a:gd name="T63" fmla="*/ 2147483646 h 266"/>
                      <a:gd name="T64" fmla="*/ 2147483646 w 232"/>
                      <a:gd name="T65" fmla="*/ 2147483646 h 266"/>
                      <a:gd name="T66" fmla="*/ 2147483646 w 232"/>
                      <a:gd name="T67" fmla="*/ 2147483646 h 266"/>
                      <a:gd name="T68" fmla="*/ 2147483646 w 232"/>
                      <a:gd name="T69" fmla="*/ 2147483646 h 266"/>
                      <a:gd name="T70" fmla="*/ 2147483646 w 232"/>
                      <a:gd name="T71" fmla="*/ 2147483646 h 266"/>
                      <a:gd name="T72" fmla="*/ 2147483646 w 232"/>
                      <a:gd name="T73" fmla="*/ 2147483646 h 266"/>
                      <a:gd name="T74" fmla="*/ 2147483646 w 232"/>
                      <a:gd name="T75" fmla="*/ 2147483646 h 266"/>
                      <a:gd name="T76" fmla="*/ 2147483646 w 232"/>
                      <a:gd name="T77" fmla="*/ 2147483646 h 266"/>
                      <a:gd name="T78" fmla="*/ 2147483646 w 232"/>
                      <a:gd name="T79" fmla="*/ 2147483646 h 266"/>
                      <a:gd name="T80" fmla="*/ 2147483646 w 232"/>
                      <a:gd name="T81" fmla="*/ 2147483646 h 266"/>
                      <a:gd name="T82" fmla="*/ 2147483646 w 232"/>
                      <a:gd name="T83" fmla="*/ 2147483646 h 266"/>
                      <a:gd name="T84" fmla="*/ 2147483646 w 232"/>
                      <a:gd name="T85" fmla="*/ 2147483646 h 266"/>
                      <a:gd name="T86" fmla="*/ 2147483646 w 232"/>
                      <a:gd name="T87" fmla="*/ 2147483646 h 266"/>
                      <a:gd name="T88" fmla="*/ 2147483646 w 232"/>
                      <a:gd name="T89" fmla="*/ 2147483646 h 266"/>
                      <a:gd name="T90" fmla="*/ 2147483646 w 232"/>
                      <a:gd name="T91" fmla="*/ 2147483646 h 266"/>
                      <a:gd name="T92" fmla="*/ 2147483646 w 232"/>
                      <a:gd name="T93" fmla="*/ 2147483646 h 266"/>
                      <a:gd name="T94" fmla="*/ 2147483646 w 232"/>
                      <a:gd name="T95" fmla="*/ 2147483646 h 266"/>
                      <a:gd name="T96" fmla="*/ 2147483646 w 232"/>
                      <a:gd name="T97" fmla="*/ 2147483646 h 266"/>
                      <a:gd name="T98" fmla="*/ 2147483646 w 232"/>
                      <a:gd name="T99" fmla="*/ 2147483646 h 266"/>
                      <a:gd name="T100" fmla="*/ 2147483646 w 232"/>
                      <a:gd name="T101" fmla="*/ 2147483646 h 266"/>
                      <a:gd name="T102" fmla="*/ 2147483646 w 232"/>
                      <a:gd name="T103" fmla="*/ 2147483646 h 266"/>
                      <a:gd name="T104" fmla="*/ 2147483646 w 232"/>
                      <a:gd name="T105" fmla="*/ 2147483646 h 266"/>
                      <a:gd name="T106" fmla="*/ 2147483646 w 232"/>
                      <a:gd name="T107" fmla="*/ 2147483646 h 266"/>
                      <a:gd name="T108" fmla="*/ 0 w 232"/>
                      <a:gd name="T109" fmla="*/ 2147483646 h 266"/>
                      <a:gd name="T110" fmla="*/ 2147483646 w 232"/>
                      <a:gd name="T111" fmla="*/ 2147483646 h 266"/>
                      <a:gd name="T112" fmla="*/ 2147483646 w 232"/>
                      <a:gd name="T113" fmla="*/ 2147483646 h 266"/>
                      <a:gd name="T114" fmla="*/ 2147483646 w 232"/>
                      <a:gd name="T115" fmla="*/ 2147483646 h 266"/>
                      <a:gd name="T116" fmla="*/ 2147483646 w 232"/>
                      <a:gd name="T117" fmla="*/ 2147483646 h 266"/>
                      <a:gd name="T118" fmla="*/ 2147483646 w 232"/>
                      <a:gd name="T119" fmla="*/ 2147483646 h 266"/>
                      <a:gd name="T120" fmla="*/ 2147483646 w 232"/>
                      <a:gd name="T121" fmla="*/ 2147483646 h 266"/>
                      <a:gd name="T122" fmla="*/ 2147483646 w 232"/>
                      <a:gd name="T123" fmla="*/ 2147483646 h 266"/>
                      <a:gd name="T124" fmla="*/ 2147483646 w 232"/>
                      <a:gd name="T125" fmla="*/ 2147483646 h 2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2"/>
                      <a:gd name="T190" fmla="*/ 0 h 266"/>
                      <a:gd name="T191" fmla="*/ 232 w 232"/>
                      <a:gd name="T192" fmla="*/ 266 h 2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2" h="266">
                        <a:moveTo>
                          <a:pt x="93" y="0"/>
                        </a:moveTo>
                        <a:lnTo>
                          <a:pt x="100" y="13"/>
                        </a:lnTo>
                        <a:lnTo>
                          <a:pt x="103" y="13"/>
                        </a:lnTo>
                        <a:lnTo>
                          <a:pt x="106" y="12"/>
                        </a:lnTo>
                        <a:lnTo>
                          <a:pt x="110" y="12"/>
                        </a:lnTo>
                        <a:lnTo>
                          <a:pt x="115" y="10"/>
                        </a:lnTo>
                        <a:lnTo>
                          <a:pt x="122" y="10"/>
                        </a:lnTo>
                        <a:lnTo>
                          <a:pt x="127" y="12"/>
                        </a:lnTo>
                        <a:lnTo>
                          <a:pt x="136" y="12"/>
                        </a:lnTo>
                        <a:lnTo>
                          <a:pt x="136" y="13"/>
                        </a:lnTo>
                        <a:lnTo>
                          <a:pt x="137" y="15"/>
                        </a:lnTo>
                        <a:lnTo>
                          <a:pt x="137" y="22"/>
                        </a:lnTo>
                        <a:lnTo>
                          <a:pt x="139" y="25"/>
                        </a:lnTo>
                        <a:lnTo>
                          <a:pt x="139" y="33"/>
                        </a:lnTo>
                        <a:lnTo>
                          <a:pt x="140" y="37"/>
                        </a:lnTo>
                        <a:lnTo>
                          <a:pt x="143" y="40"/>
                        </a:lnTo>
                        <a:lnTo>
                          <a:pt x="145" y="43"/>
                        </a:lnTo>
                        <a:lnTo>
                          <a:pt x="147" y="44"/>
                        </a:lnTo>
                        <a:lnTo>
                          <a:pt x="149" y="46"/>
                        </a:lnTo>
                        <a:lnTo>
                          <a:pt x="153" y="46"/>
                        </a:lnTo>
                        <a:lnTo>
                          <a:pt x="162" y="47"/>
                        </a:lnTo>
                        <a:lnTo>
                          <a:pt x="176" y="46"/>
                        </a:lnTo>
                        <a:lnTo>
                          <a:pt x="190" y="43"/>
                        </a:lnTo>
                        <a:lnTo>
                          <a:pt x="195" y="42"/>
                        </a:lnTo>
                        <a:lnTo>
                          <a:pt x="196" y="40"/>
                        </a:lnTo>
                        <a:lnTo>
                          <a:pt x="198" y="40"/>
                        </a:lnTo>
                        <a:lnTo>
                          <a:pt x="201" y="43"/>
                        </a:lnTo>
                        <a:lnTo>
                          <a:pt x="201" y="44"/>
                        </a:lnTo>
                        <a:lnTo>
                          <a:pt x="202" y="46"/>
                        </a:lnTo>
                        <a:lnTo>
                          <a:pt x="204" y="49"/>
                        </a:lnTo>
                        <a:lnTo>
                          <a:pt x="207" y="50"/>
                        </a:lnTo>
                        <a:lnTo>
                          <a:pt x="210" y="50"/>
                        </a:lnTo>
                        <a:lnTo>
                          <a:pt x="213" y="49"/>
                        </a:lnTo>
                        <a:lnTo>
                          <a:pt x="214" y="49"/>
                        </a:lnTo>
                        <a:lnTo>
                          <a:pt x="214" y="50"/>
                        </a:lnTo>
                        <a:lnTo>
                          <a:pt x="216" y="53"/>
                        </a:lnTo>
                        <a:lnTo>
                          <a:pt x="216" y="56"/>
                        </a:lnTo>
                        <a:lnTo>
                          <a:pt x="217" y="58"/>
                        </a:lnTo>
                        <a:lnTo>
                          <a:pt x="217" y="59"/>
                        </a:lnTo>
                        <a:lnTo>
                          <a:pt x="227" y="73"/>
                        </a:lnTo>
                        <a:lnTo>
                          <a:pt x="221" y="87"/>
                        </a:lnTo>
                        <a:lnTo>
                          <a:pt x="221" y="89"/>
                        </a:lnTo>
                        <a:lnTo>
                          <a:pt x="223" y="90"/>
                        </a:lnTo>
                        <a:lnTo>
                          <a:pt x="224" y="95"/>
                        </a:lnTo>
                        <a:lnTo>
                          <a:pt x="224" y="98"/>
                        </a:lnTo>
                        <a:lnTo>
                          <a:pt x="226" y="102"/>
                        </a:lnTo>
                        <a:lnTo>
                          <a:pt x="227" y="105"/>
                        </a:lnTo>
                        <a:lnTo>
                          <a:pt x="227" y="107"/>
                        </a:lnTo>
                        <a:lnTo>
                          <a:pt x="226" y="108"/>
                        </a:lnTo>
                        <a:lnTo>
                          <a:pt x="224" y="108"/>
                        </a:lnTo>
                        <a:lnTo>
                          <a:pt x="223" y="110"/>
                        </a:lnTo>
                        <a:lnTo>
                          <a:pt x="221" y="110"/>
                        </a:lnTo>
                        <a:lnTo>
                          <a:pt x="221" y="111"/>
                        </a:lnTo>
                        <a:lnTo>
                          <a:pt x="223" y="114"/>
                        </a:lnTo>
                        <a:lnTo>
                          <a:pt x="223" y="115"/>
                        </a:lnTo>
                        <a:lnTo>
                          <a:pt x="221" y="118"/>
                        </a:lnTo>
                        <a:lnTo>
                          <a:pt x="218" y="121"/>
                        </a:lnTo>
                        <a:lnTo>
                          <a:pt x="218" y="123"/>
                        </a:lnTo>
                        <a:lnTo>
                          <a:pt x="221" y="136"/>
                        </a:lnTo>
                        <a:lnTo>
                          <a:pt x="221" y="151"/>
                        </a:lnTo>
                        <a:lnTo>
                          <a:pt x="220" y="154"/>
                        </a:lnTo>
                        <a:lnTo>
                          <a:pt x="220" y="160"/>
                        </a:lnTo>
                        <a:lnTo>
                          <a:pt x="221" y="163"/>
                        </a:lnTo>
                        <a:lnTo>
                          <a:pt x="221" y="166"/>
                        </a:lnTo>
                        <a:lnTo>
                          <a:pt x="223" y="169"/>
                        </a:lnTo>
                        <a:lnTo>
                          <a:pt x="232" y="178"/>
                        </a:lnTo>
                        <a:lnTo>
                          <a:pt x="232" y="186"/>
                        </a:lnTo>
                        <a:lnTo>
                          <a:pt x="226" y="186"/>
                        </a:lnTo>
                        <a:lnTo>
                          <a:pt x="226" y="188"/>
                        </a:lnTo>
                        <a:lnTo>
                          <a:pt x="224" y="191"/>
                        </a:lnTo>
                        <a:lnTo>
                          <a:pt x="221" y="191"/>
                        </a:lnTo>
                        <a:lnTo>
                          <a:pt x="220" y="192"/>
                        </a:lnTo>
                        <a:lnTo>
                          <a:pt x="217" y="192"/>
                        </a:lnTo>
                        <a:lnTo>
                          <a:pt x="214" y="194"/>
                        </a:lnTo>
                        <a:lnTo>
                          <a:pt x="211" y="197"/>
                        </a:lnTo>
                        <a:lnTo>
                          <a:pt x="211" y="200"/>
                        </a:lnTo>
                        <a:lnTo>
                          <a:pt x="207" y="204"/>
                        </a:lnTo>
                        <a:lnTo>
                          <a:pt x="202" y="204"/>
                        </a:lnTo>
                        <a:lnTo>
                          <a:pt x="202" y="212"/>
                        </a:lnTo>
                        <a:lnTo>
                          <a:pt x="193" y="212"/>
                        </a:lnTo>
                        <a:lnTo>
                          <a:pt x="189" y="216"/>
                        </a:lnTo>
                        <a:lnTo>
                          <a:pt x="184" y="215"/>
                        </a:lnTo>
                        <a:lnTo>
                          <a:pt x="183" y="204"/>
                        </a:lnTo>
                        <a:lnTo>
                          <a:pt x="168" y="204"/>
                        </a:lnTo>
                        <a:lnTo>
                          <a:pt x="167" y="212"/>
                        </a:lnTo>
                        <a:lnTo>
                          <a:pt x="155" y="210"/>
                        </a:lnTo>
                        <a:lnTo>
                          <a:pt x="155" y="212"/>
                        </a:lnTo>
                        <a:lnTo>
                          <a:pt x="153" y="213"/>
                        </a:lnTo>
                        <a:lnTo>
                          <a:pt x="150" y="219"/>
                        </a:lnTo>
                        <a:lnTo>
                          <a:pt x="150" y="222"/>
                        </a:lnTo>
                        <a:lnTo>
                          <a:pt x="155" y="226"/>
                        </a:lnTo>
                        <a:lnTo>
                          <a:pt x="156" y="226"/>
                        </a:lnTo>
                        <a:lnTo>
                          <a:pt x="162" y="235"/>
                        </a:lnTo>
                        <a:lnTo>
                          <a:pt x="158" y="240"/>
                        </a:lnTo>
                        <a:lnTo>
                          <a:pt x="155" y="244"/>
                        </a:lnTo>
                        <a:lnTo>
                          <a:pt x="152" y="250"/>
                        </a:lnTo>
                        <a:lnTo>
                          <a:pt x="136" y="266"/>
                        </a:lnTo>
                        <a:lnTo>
                          <a:pt x="133" y="263"/>
                        </a:lnTo>
                        <a:lnTo>
                          <a:pt x="133" y="262"/>
                        </a:lnTo>
                        <a:lnTo>
                          <a:pt x="130" y="259"/>
                        </a:lnTo>
                        <a:lnTo>
                          <a:pt x="127" y="257"/>
                        </a:lnTo>
                        <a:lnTo>
                          <a:pt x="115" y="257"/>
                        </a:lnTo>
                        <a:lnTo>
                          <a:pt x="110" y="256"/>
                        </a:lnTo>
                        <a:lnTo>
                          <a:pt x="108" y="254"/>
                        </a:lnTo>
                        <a:lnTo>
                          <a:pt x="106" y="253"/>
                        </a:lnTo>
                        <a:lnTo>
                          <a:pt x="102" y="253"/>
                        </a:lnTo>
                        <a:lnTo>
                          <a:pt x="99" y="252"/>
                        </a:lnTo>
                        <a:lnTo>
                          <a:pt x="97" y="252"/>
                        </a:lnTo>
                        <a:lnTo>
                          <a:pt x="96" y="250"/>
                        </a:lnTo>
                        <a:lnTo>
                          <a:pt x="94" y="247"/>
                        </a:lnTo>
                        <a:lnTo>
                          <a:pt x="93" y="246"/>
                        </a:lnTo>
                        <a:lnTo>
                          <a:pt x="65" y="246"/>
                        </a:lnTo>
                        <a:lnTo>
                          <a:pt x="59" y="252"/>
                        </a:lnTo>
                        <a:lnTo>
                          <a:pt x="57" y="254"/>
                        </a:lnTo>
                        <a:lnTo>
                          <a:pt x="50" y="253"/>
                        </a:lnTo>
                        <a:lnTo>
                          <a:pt x="48" y="250"/>
                        </a:lnTo>
                        <a:lnTo>
                          <a:pt x="44" y="246"/>
                        </a:lnTo>
                        <a:lnTo>
                          <a:pt x="41" y="240"/>
                        </a:lnTo>
                        <a:lnTo>
                          <a:pt x="39" y="234"/>
                        </a:lnTo>
                        <a:lnTo>
                          <a:pt x="39" y="226"/>
                        </a:lnTo>
                        <a:lnTo>
                          <a:pt x="38" y="219"/>
                        </a:lnTo>
                        <a:lnTo>
                          <a:pt x="38" y="216"/>
                        </a:lnTo>
                        <a:lnTo>
                          <a:pt x="31" y="215"/>
                        </a:lnTo>
                        <a:lnTo>
                          <a:pt x="28" y="209"/>
                        </a:lnTo>
                        <a:lnTo>
                          <a:pt x="28" y="206"/>
                        </a:lnTo>
                        <a:lnTo>
                          <a:pt x="26" y="201"/>
                        </a:lnTo>
                        <a:lnTo>
                          <a:pt x="26" y="192"/>
                        </a:lnTo>
                        <a:lnTo>
                          <a:pt x="28" y="188"/>
                        </a:lnTo>
                        <a:lnTo>
                          <a:pt x="31" y="185"/>
                        </a:lnTo>
                        <a:lnTo>
                          <a:pt x="34" y="181"/>
                        </a:lnTo>
                        <a:lnTo>
                          <a:pt x="38" y="176"/>
                        </a:lnTo>
                        <a:lnTo>
                          <a:pt x="41" y="175"/>
                        </a:lnTo>
                        <a:lnTo>
                          <a:pt x="48" y="172"/>
                        </a:lnTo>
                        <a:lnTo>
                          <a:pt x="56" y="167"/>
                        </a:lnTo>
                        <a:lnTo>
                          <a:pt x="65" y="163"/>
                        </a:lnTo>
                        <a:lnTo>
                          <a:pt x="69" y="160"/>
                        </a:lnTo>
                        <a:lnTo>
                          <a:pt x="69" y="152"/>
                        </a:lnTo>
                        <a:lnTo>
                          <a:pt x="68" y="149"/>
                        </a:lnTo>
                        <a:lnTo>
                          <a:pt x="66" y="145"/>
                        </a:lnTo>
                        <a:lnTo>
                          <a:pt x="66" y="142"/>
                        </a:lnTo>
                        <a:lnTo>
                          <a:pt x="65" y="138"/>
                        </a:lnTo>
                        <a:lnTo>
                          <a:pt x="63" y="135"/>
                        </a:lnTo>
                        <a:lnTo>
                          <a:pt x="62" y="133"/>
                        </a:lnTo>
                        <a:lnTo>
                          <a:pt x="62" y="132"/>
                        </a:lnTo>
                        <a:lnTo>
                          <a:pt x="60" y="132"/>
                        </a:lnTo>
                        <a:lnTo>
                          <a:pt x="59" y="130"/>
                        </a:lnTo>
                        <a:lnTo>
                          <a:pt x="53" y="130"/>
                        </a:lnTo>
                        <a:lnTo>
                          <a:pt x="50" y="129"/>
                        </a:lnTo>
                        <a:lnTo>
                          <a:pt x="47" y="129"/>
                        </a:lnTo>
                        <a:lnTo>
                          <a:pt x="44" y="127"/>
                        </a:lnTo>
                        <a:lnTo>
                          <a:pt x="42" y="124"/>
                        </a:lnTo>
                        <a:lnTo>
                          <a:pt x="39" y="123"/>
                        </a:lnTo>
                        <a:lnTo>
                          <a:pt x="32" y="121"/>
                        </a:lnTo>
                        <a:lnTo>
                          <a:pt x="31" y="118"/>
                        </a:lnTo>
                        <a:lnTo>
                          <a:pt x="31" y="117"/>
                        </a:lnTo>
                        <a:lnTo>
                          <a:pt x="29" y="115"/>
                        </a:lnTo>
                        <a:lnTo>
                          <a:pt x="25" y="107"/>
                        </a:lnTo>
                        <a:lnTo>
                          <a:pt x="25" y="104"/>
                        </a:lnTo>
                        <a:lnTo>
                          <a:pt x="19" y="98"/>
                        </a:lnTo>
                        <a:lnTo>
                          <a:pt x="13" y="98"/>
                        </a:lnTo>
                        <a:lnTo>
                          <a:pt x="10" y="99"/>
                        </a:lnTo>
                        <a:lnTo>
                          <a:pt x="7" y="99"/>
                        </a:lnTo>
                        <a:lnTo>
                          <a:pt x="4" y="98"/>
                        </a:lnTo>
                        <a:lnTo>
                          <a:pt x="3" y="98"/>
                        </a:lnTo>
                        <a:lnTo>
                          <a:pt x="0" y="96"/>
                        </a:lnTo>
                        <a:lnTo>
                          <a:pt x="0" y="90"/>
                        </a:lnTo>
                        <a:lnTo>
                          <a:pt x="1" y="86"/>
                        </a:lnTo>
                        <a:lnTo>
                          <a:pt x="1" y="81"/>
                        </a:lnTo>
                        <a:lnTo>
                          <a:pt x="3" y="79"/>
                        </a:lnTo>
                        <a:lnTo>
                          <a:pt x="3" y="77"/>
                        </a:lnTo>
                        <a:lnTo>
                          <a:pt x="4" y="76"/>
                        </a:lnTo>
                        <a:lnTo>
                          <a:pt x="7" y="70"/>
                        </a:lnTo>
                        <a:lnTo>
                          <a:pt x="13" y="61"/>
                        </a:lnTo>
                        <a:lnTo>
                          <a:pt x="17" y="58"/>
                        </a:lnTo>
                        <a:lnTo>
                          <a:pt x="25" y="52"/>
                        </a:lnTo>
                        <a:lnTo>
                          <a:pt x="34" y="47"/>
                        </a:lnTo>
                        <a:lnTo>
                          <a:pt x="42" y="44"/>
                        </a:lnTo>
                        <a:lnTo>
                          <a:pt x="47" y="42"/>
                        </a:lnTo>
                        <a:lnTo>
                          <a:pt x="48" y="40"/>
                        </a:lnTo>
                        <a:lnTo>
                          <a:pt x="48" y="34"/>
                        </a:lnTo>
                        <a:lnTo>
                          <a:pt x="50" y="31"/>
                        </a:lnTo>
                        <a:lnTo>
                          <a:pt x="50" y="27"/>
                        </a:lnTo>
                        <a:lnTo>
                          <a:pt x="51" y="24"/>
                        </a:lnTo>
                        <a:lnTo>
                          <a:pt x="53" y="22"/>
                        </a:lnTo>
                        <a:lnTo>
                          <a:pt x="59" y="19"/>
                        </a:lnTo>
                        <a:lnTo>
                          <a:pt x="66" y="16"/>
                        </a:lnTo>
                        <a:lnTo>
                          <a:pt x="76" y="12"/>
                        </a:lnTo>
                        <a:lnTo>
                          <a:pt x="84" y="8"/>
                        </a:lnTo>
                        <a:lnTo>
                          <a:pt x="87" y="6"/>
                        </a:lnTo>
                        <a:lnTo>
                          <a:pt x="93"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900" kern="0" dirty="0">
                        <a:solidFill>
                          <a:srgbClr val="000000"/>
                        </a:solidFill>
                        <a:latin typeface="Calibri"/>
                        <a:ea typeface="MS PGothic" charset="0"/>
                        <a:cs typeface="Latha" panose="020B0604020202020204" pitchFamily="34" charset="0"/>
                      </a:rPr>
                      <a:t> </a:t>
                    </a:r>
                  </a:p>
                </p:txBody>
              </p:sp>
              <p:sp>
                <p:nvSpPr>
                  <p:cNvPr id="113" name="Freeform 293" descr="© INSCALE GmbH, 21.06.2010"/>
                  <p:cNvSpPr>
                    <a:spLocks noChangeAspect="1"/>
                  </p:cNvSpPr>
                  <p:nvPr/>
                </p:nvSpPr>
                <p:spPr bwMode="auto">
                  <a:xfrm>
                    <a:off x="3937368" y="3652998"/>
                    <a:ext cx="208076" cy="271886"/>
                  </a:xfrm>
                  <a:custGeom>
                    <a:avLst/>
                    <a:gdLst>
                      <a:gd name="T0" fmla="*/ 2147483646 w 217"/>
                      <a:gd name="T1" fmla="*/ 2147483646 h 286"/>
                      <a:gd name="T2" fmla="*/ 2147483646 w 217"/>
                      <a:gd name="T3" fmla="*/ 2147483646 h 286"/>
                      <a:gd name="T4" fmla="*/ 2147483646 w 217"/>
                      <a:gd name="T5" fmla="*/ 2147483646 h 286"/>
                      <a:gd name="T6" fmla="*/ 2147483646 w 217"/>
                      <a:gd name="T7" fmla="*/ 2147483646 h 286"/>
                      <a:gd name="T8" fmla="*/ 2147483646 w 217"/>
                      <a:gd name="T9" fmla="*/ 2147483646 h 286"/>
                      <a:gd name="T10" fmla="*/ 2147483646 w 217"/>
                      <a:gd name="T11" fmla="*/ 2147483646 h 286"/>
                      <a:gd name="T12" fmla="*/ 2147483646 w 217"/>
                      <a:gd name="T13" fmla="*/ 2147483646 h 286"/>
                      <a:gd name="T14" fmla="*/ 2147483646 w 217"/>
                      <a:gd name="T15" fmla="*/ 2147483646 h 286"/>
                      <a:gd name="T16" fmla="*/ 2147483646 w 217"/>
                      <a:gd name="T17" fmla="*/ 2147483646 h 286"/>
                      <a:gd name="T18" fmla="*/ 2147483646 w 217"/>
                      <a:gd name="T19" fmla="*/ 2147483646 h 286"/>
                      <a:gd name="T20" fmla="*/ 2147483646 w 217"/>
                      <a:gd name="T21" fmla="*/ 2147483646 h 286"/>
                      <a:gd name="T22" fmla="*/ 2147483646 w 217"/>
                      <a:gd name="T23" fmla="*/ 2147483646 h 286"/>
                      <a:gd name="T24" fmla="*/ 2147483646 w 217"/>
                      <a:gd name="T25" fmla="*/ 2147483646 h 286"/>
                      <a:gd name="T26" fmla="*/ 2147483646 w 217"/>
                      <a:gd name="T27" fmla="*/ 2147483646 h 286"/>
                      <a:gd name="T28" fmla="*/ 2147483646 w 217"/>
                      <a:gd name="T29" fmla="*/ 2147483646 h 286"/>
                      <a:gd name="T30" fmla="*/ 2147483646 w 217"/>
                      <a:gd name="T31" fmla="*/ 2147483646 h 286"/>
                      <a:gd name="T32" fmla="*/ 2147483646 w 217"/>
                      <a:gd name="T33" fmla="*/ 2147483646 h 286"/>
                      <a:gd name="T34" fmla="*/ 2147483646 w 217"/>
                      <a:gd name="T35" fmla="*/ 2147483646 h 286"/>
                      <a:gd name="T36" fmla="*/ 2147483646 w 217"/>
                      <a:gd name="T37" fmla="*/ 2147483646 h 286"/>
                      <a:gd name="T38" fmla="*/ 2147483646 w 217"/>
                      <a:gd name="T39" fmla="*/ 2147483646 h 286"/>
                      <a:gd name="T40" fmla="*/ 2147483646 w 217"/>
                      <a:gd name="T41" fmla="*/ 2147483646 h 286"/>
                      <a:gd name="T42" fmla="*/ 2147483646 w 217"/>
                      <a:gd name="T43" fmla="*/ 2147483646 h 286"/>
                      <a:gd name="T44" fmla="*/ 2147483646 w 217"/>
                      <a:gd name="T45" fmla="*/ 2147483646 h 286"/>
                      <a:gd name="T46" fmla="*/ 2147483646 w 217"/>
                      <a:gd name="T47" fmla="*/ 2147483646 h 286"/>
                      <a:gd name="T48" fmla="*/ 2147483646 w 217"/>
                      <a:gd name="T49" fmla="*/ 2147483646 h 286"/>
                      <a:gd name="T50" fmla="*/ 2147483646 w 217"/>
                      <a:gd name="T51" fmla="*/ 2147483646 h 286"/>
                      <a:gd name="T52" fmla="*/ 2147483646 w 217"/>
                      <a:gd name="T53" fmla="*/ 2147483646 h 286"/>
                      <a:gd name="T54" fmla="*/ 2147483646 w 217"/>
                      <a:gd name="T55" fmla="*/ 2147483646 h 286"/>
                      <a:gd name="T56" fmla="*/ 2147483646 w 217"/>
                      <a:gd name="T57" fmla="*/ 2147483646 h 286"/>
                      <a:gd name="T58" fmla="*/ 2147483646 w 217"/>
                      <a:gd name="T59" fmla="*/ 2147483646 h 286"/>
                      <a:gd name="T60" fmla="*/ 2147483646 w 217"/>
                      <a:gd name="T61" fmla="*/ 2147483646 h 286"/>
                      <a:gd name="T62" fmla="*/ 2147483646 w 217"/>
                      <a:gd name="T63" fmla="*/ 2147483646 h 286"/>
                      <a:gd name="T64" fmla="*/ 2147483646 w 217"/>
                      <a:gd name="T65" fmla="*/ 2147483646 h 286"/>
                      <a:gd name="T66" fmla="*/ 2147483646 w 217"/>
                      <a:gd name="T67" fmla="*/ 2147483646 h 286"/>
                      <a:gd name="T68" fmla="*/ 2147483646 w 217"/>
                      <a:gd name="T69" fmla="*/ 2147483646 h 286"/>
                      <a:gd name="T70" fmla="*/ 2147483646 w 217"/>
                      <a:gd name="T71" fmla="*/ 2147483646 h 286"/>
                      <a:gd name="T72" fmla="*/ 2147483646 w 217"/>
                      <a:gd name="T73" fmla="*/ 2147483646 h 286"/>
                      <a:gd name="T74" fmla="*/ 2147483646 w 217"/>
                      <a:gd name="T75" fmla="*/ 2147483646 h 286"/>
                      <a:gd name="T76" fmla="*/ 2147483646 w 217"/>
                      <a:gd name="T77" fmla="*/ 2147483646 h 286"/>
                      <a:gd name="T78" fmla="*/ 2147483646 w 217"/>
                      <a:gd name="T79" fmla="*/ 2147483646 h 286"/>
                      <a:gd name="T80" fmla="*/ 2147483646 w 217"/>
                      <a:gd name="T81" fmla="*/ 2147483646 h 286"/>
                      <a:gd name="T82" fmla="*/ 2147483646 w 217"/>
                      <a:gd name="T83" fmla="*/ 2147483646 h 286"/>
                      <a:gd name="T84" fmla="*/ 2147483646 w 217"/>
                      <a:gd name="T85" fmla="*/ 2147483646 h 286"/>
                      <a:gd name="T86" fmla="*/ 2147483646 w 217"/>
                      <a:gd name="T87" fmla="*/ 2147483646 h 286"/>
                      <a:gd name="T88" fmla="*/ 2147483646 w 217"/>
                      <a:gd name="T89" fmla="*/ 2147483646 h 286"/>
                      <a:gd name="T90" fmla="*/ 2147483646 w 217"/>
                      <a:gd name="T91" fmla="*/ 2147483646 h 286"/>
                      <a:gd name="T92" fmla="*/ 2147483646 w 217"/>
                      <a:gd name="T93" fmla="*/ 2147483646 h 286"/>
                      <a:gd name="T94" fmla="*/ 2147483646 w 217"/>
                      <a:gd name="T95" fmla="*/ 2147483646 h 286"/>
                      <a:gd name="T96" fmla="*/ 2147483646 w 217"/>
                      <a:gd name="T97" fmla="*/ 2147483646 h 286"/>
                      <a:gd name="T98" fmla="*/ 2147483646 w 217"/>
                      <a:gd name="T99" fmla="*/ 2147483646 h 286"/>
                      <a:gd name="T100" fmla="*/ 2147483646 w 217"/>
                      <a:gd name="T101" fmla="*/ 2147483646 h 286"/>
                      <a:gd name="T102" fmla="*/ 2147483646 w 217"/>
                      <a:gd name="T103" fmla="*/ 2147483646 h 28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7"/>
                      <a:gd name="T157" fmla="*/ 0 h 286"/>
                      <a:gd name="T158" fmla="*/ 217 w 217"/>
                      <a:gd name="T159" fmla="*/ 286 h 28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7" h="286">
                        <a:moveTo>
                          <a:pt x="92" y="0"/>
                        </a:moveTo>
                        <a:lnTo>
                          <a:pt x="92" y="6"/>
                        </a:lnTo>
                        <a:lnTo>
                          <a:pt x="93" y="8"/>
                        </a:lnTo>
                        <a:lnTo>
                          <a:pt x="93" y="14"/>
                        </a:lnTo>
                        <a:lnTo>
                          <a:pt x="92" y="15"/>
                        </a:lnTo>
                        <a:lnTo>
                          <a:pt x="92" y="18"/>
                        </a:lnTo>
                        <a:lnTo>
                          <a:pt x="93" y="21"/>
                        </a:lnTo>
                        <a:lnTo>
                          <a:pt x="95" y="23"/>
                        </a:lnTo>
                        <a:lnTo>
                          <a:pt x="102" y="21"/>
                        </a:lnTo>
                        <a:lnTo>
                          <a:pt x="102" y="23"/>
                        </a:lnTo>
                        <a:lnTo>
                          <a:pt x="103" y="24"/>
                        </a:lnTo>
                        <a:lnTo>
                          <a:pt x="106" y="26"/>
                        </a:lnTo>
                        <a:lnTo>
                          <a:pt x="109" y="28"/>
                        </a:lnTo>
                        <a:lnTo>
                          <a:pt x="123" y="33"/>
                        </a:lnTo>
                        <a:lnTo>
                          <a:pt x="127" y="33"/>
                        </a:lnTo>
                        <a:lnTo>
                          <a:pt x="127" y="28"/>
                        </a:lnTo>
                        <a:lnTo>
                          <a:pt x="130" y="26"/>
                        </a:lnTo>
                        <a:lnTo>
                          <a:pt x="143" y="26"/>
                        </a:lnTo>
                        <a:lnTo>
                          <a:pt x="146" y="27"/>
                        </a:lnTo>
                        <a:lnTo>
                          <a:pt x="148" y="27"/>
                        </a:lnTo>
                        <a:lnTo>
                          <a:pt x="149" y="30"/>
                        </a:lnTo>
                        <a:lnTo>
                          <a:pt x="151" y="31"/>
                        </a:lnTo>
                        <a:lnTo>
                          <a:pt x="154" y="33"/>
                        </a:lnTo>
                        <a:lnTo>
                          <a:pt x="155" y="36"/>
                        </a:lnTo>
                        <a:lnTo>
                          <a:pt x="163" y="36"/>
                        </a:lnTo>
                        <a:lnTo>
                          <a:pt x="166" y="34"/>
                        </a:lnTo>
                        <a:lnTo>
                          <a:pt x="170" y="34"/>
                        </a:lnTo>
                        <a:lnTo>
                          <a:pt x="172" y="33"/>
                        </a:lnTo>
                        <a:lnTo>
                          <a:pt x="173" y="33"/>
                        </a:lnTo>
                        <a:lnTo>
                          <a:pt x="174" y="31"/>
                        </a:lnTo>
                        <a:lnTo>
                          <a:pt x="177" y="30"/>
                        </a:lnTo>
                        <a:lnTo>
                          <a:pt x="179" y="28"/>
                        </a:lnTo>
                        <a:lnTo>
                          <a:pt x="179" y="24"/>
                        </a:lnTo>
                        <a:lnTo>
                          <a:pt x="186" y="24"/>
                        </a:lnTo>
                        <a:lnTo>
                          <a:pt x="188" y="26"/>
                        </a:lnTo>
                        <a:lnTo>
                          <a:pt x="197" y="30"/>
                        </a:lnTo>
                        <a:lnTo>
                          <a:pt x="200" y="30"/>
                        </a:lnTo>
                        <a:lnTo>
                          <a:pt x="201" y="28"/>
                        </a:lnTo>
                        <a:lnTo>
                          <a:pt x="203" y="28"/>
                        </a:lnTo>
                        <a:lnTo>
                          <a:pt x="204" y="27"/>
                        </a:lnTo>
                        <a:lnTo>
                          <a:pt x="210" y="24"/>
                        </a:lnTo>
                        <a:lnTo>
                          <a:pt x="213" y="24"/>
                        </a:lnTo>
                        <a:lnTo>
                          <a:pt x="214" y="23"/>
                        </a:lnTo>
                        <a:lnTo>
                          <a:pt x="217" y="23"/>
                        </a:lnTo>
                        <a:lnTo>
                          <a:pt x="217" y="30"/>
                        </a:lnTo>
                        <a:lnTo>
                          <a:pt x="216" y="30"/>
                        </a:lnTo>
                        <a:lnTo>
                          <a:pt x="211" y="34"/>
                        </a:lnTo>
                        <a:lnTo>
                          <a:pt x="208" y="39"/>
                        </a:lnTo>
                        <a:lnTo>
                          <a:pt x="207" y="43"/>
                        </a:lnTo>
                        <a:lnTo>
                          <a:pt x="207" y="52"/>
                        </a:lnTo>
                        <a:lnTo>
                          <a:pt x="208" y="55"/>
                        </a:lnTo>
                        <a:lnTo>
                          <a:pt x="210" y="60"/>
                        </a:lnTo>
                        <a:lnTo>
                          <a:pt x="211" y="62"/>
                        </a:lnTo>
                        <a:lnTo>
                          <a:pt x="213" y="64"/>
                        </a:lnTo>
                        <a:lnTo>
                          <a:pt x="213" y="65"/>
                        </a:lnTo>
                        <a:lnTo>
                          <a:pt x="204" y="74"/>
                        </a:lnTo>
                        <a:lnTo>
                          <a:pt x="197" y="83"/>
                        </a:lnTo>
                        <a:lnTo>
                          <a:pt x="188" y="91"/>
                        </a:lnTo>
                        <a:lnTo>
                          <a:pt x="185" y="94"/>
                        </a:lnTo>
                        <a:lnTo>
                          <a:pt x="185" y="99"/>
                        </a:lnTo>
                        <a:lnTo>
                          <a:pt x="188" y="102"/>
                        </a:lnTo>
                        <a:lnTo>
                          <a:pt x="191" y="104"/>
                        </a:lnTo>
                        <a:lnTo>
                          <a:pt x="192" y="105"/>
                        </a:lnTo>
                        <a:lnTo>
                          <a:pt x="192" y="123"/>
                        </a:lnTo>
                        <a:lnTo>
                          <a:pt x="183" y="154"/>
                        </a:lnTo>
                        <a:lnTo>
                          <a:pt x="183" y="156"/>
                        </a:lnTo>
                        <a:lnTo>
                          <a:pt x="185" y="157"/>
                        </a:lnTo>
                        <a:lnTo>
                          <a:pt x="183" y="157"/>
                        </a:lnTo>
                        <a:lnTo>
                          <a:pt x="183" y="160"/>
                        </a:lnTo>
                        <a:lnTo>
                          <a:pt x="185" y="160"/>
                        </a:lnTo>
                        <a:lnTo>
                          <a:pt x="188" y="162"/>
                        </a:lnTo>
                        <a:lnTo>
                          <a:pt x="197" y="162"/>
                        </a:lnTo>
                        <a:lnTo>
                          <a:pt x="204" y="163"/>
                        </a:lnTo>
                        <a:lnTo>
                          <a:pt x="208" y="163"/>
                        </a:lnTo>
                        <a:lnTo>
                          <a:pt x="208" y="166"/>
                        </a:lnTo>
                        <a:lnTo>
                          <a:pt x="206" y="169"/>
                        </a:lnTo>
                        <a:lnTo>
                          <a:pt x="197" y="172"/>
                        </a:lnTo>
                        <a:lnTo>
                          <a:pt x="186" y="175"/>
                        </a:lnTo>
                        <a:lnTo>
                          <a:pt x="177" y="178"/>
                        </a:lnTo>
                        <a:lnTo>
                          <a:pt x="170" y="181"/>
                        </a:lnTo>
                        <a:lnTo>
                          <a:pt x="167" y="182"/>
                        </a:lnTo>
                        <a:lnTo>
                          <a:pt x="180" y="196"/>
                        </a:lnTo>
                        <a:lnTo>
                          <a:pt x="179" y="199"/>
                        </a:lnTo>
                        <a:lnTo>
                          <a:pt x="174" y="203"/>
                        </a:lnTo>
                        <a:lnTo>
                          <a:pt x="173" y="206"/>
                        </a:lnTo>
                        <a:lnTo>
                          <a:pt x="170" y="209"/>
                        </a:lnTo>
                        <a:lnTo>
                          <a:pt x="170" y="210"/>
                        </a:lnTo>
                        <a:lnTo>
                          <a:pt x="169" y="212"/>
                        </a:lnTo>
                        <a:lnTo>
                          <a:pt x="167" y="215"/>
                        </a:lnTo>
                        <a:lnTo>
                          <a:pt x="167" y="216"/>
                        </a:lnTo>
                        <a:lnTo>
                          <a:pt x="164" y="219"/>
                        </a:lnTo>
                        <a:lnTo>
                          <a:pt x="163" y="219"/>
                        </a:lnTo>
                        <a:lnTo>
                          <a:pt x="161" y="221"/>
                        </a:lnTo>
                        <a:lnTo>
                          <a:pt x="161" y="224"/>
                        </a:lnTo>
                        <a:lnTo>
                          <a:pt x="160" y="225"/>
                        </a:lnTo>
                        <a:lnTo>
                          <a:pt x="160" y="233"/>
                        </a:lnTo>
                        <a:lnTo>
                          <a:pt x="158" y="236"/>
                        </a:lnTo>
                        <a:lnTo>
                          <a:pt x="158" y="238"/>
                        </a:lnTo>
                        <a:lnTo>
                          <a:pt x="154" y="243"/>
                        </a:lnTo>
                        <a:lnTo>
                          <a:pt x="145" y="243"/>
                        </a:lnTo>
                        <a:lnTo>
                          <a:pt x="145" y="244"/>
                        </a:lnTo>
                        <a:lnTo>
                          <a:pt x="142" y="247"/>
                        </a:lnTo>
                        <a:lnTo>
                          <a:pt x="140" y="250"/>
                        </a:lnTo>
                        <a:lnTo>
                          <a:pt x="139" y="252"/>
                        </a:lnTo>
                        <a:lnTo>
                          <a:pt x="135" y="253"/>
                        </a:lnTo>
                        <a:lnTo>
                          <a:pt x="132" y="253"/>
                        </a:lnTo>
                        <a:lnTo>
                          <a:pt x="123" y="262"/>
                        </a:lnTo>
                        <a:lnTo>
                          <a:pt x="121" y="262"/>
                        </a:lnTo>
                        <a:lnTo>
                          <a:pt x="120" y="275"/>
                        </a:lnTo>
                        <a:lnTo>
                          <a:pt x="117" y="275"/>
                        </a:lnTo>
                        <a:lnTo>
                          <a:pt x="114" y="274"/>
                        </a:lnTo>
                        <a:lnTo>
                          <a:pt x="111" y="271"/>
                        </a:lnTo>
                        <a:lnTo>
                          <a:pt x="109" y="271"/>
                        </a:lnTo>
                        <a:lnTo>
                          <a:pt x="108" y="272"/>
                        </a:lnTo>
                        <a:lnTo>
                          <a:pt x="106" y="275"/>
                        </a:lnTo>
                        <a:lnTo>
                          <a:pt x="105" y="277"/>
                        </a:lnTo>
                        <a:lnTo>
                          <a:pt x="103" y="280"/>
                        </a:lnTo>
                        <a:lnTo>
                          <a:pt x="99" y="284"/>
                        </a:lnTo>
                        <a:lnTo>
                          <a:pt x="96" y="281"/>
                        </a:lnTo>
                        <a:lnTo>
                          <a:pt x="93" y="280"/>
                        </a:lnTo>
                        <a:lnTo>
                          <a:pt x="90" y="280"/>
                        </a:lnTo>
                        <a:lnTo>
                          <a:pt x="84" y="283"/>
                        </a:lnTo>
                        <a:lnTo>
                          <a:pt x="83" y="284"/>
                        </a:lnTo>
                        <a:lnTo>
                          <a:pt x="80" y="284"/>
                        </a:lnTo>
                        <a:lnTo>
                          <a:pt x="78" y="286"/>
                        </a:lnTo>
                        <a:lnTo>
                          <a:pt x="75" y="284"/>
                        </a:lnTo>
                        <a:lnTo>
                          <a:pt x="69" y="278"/>
                        </a:lnTo>
                        <a:lnTo>
                          <a:pt x="69" y="271"/>
                        </a:lnTo>
                        <a:lnTo>
                          <a:pt x="66" y="262"/>
                        </a:lnTo>
                        <a:lnTo>
                          <a:pt x="66" y="253"/>
                        </a:lnTo>
                        <a:lnTo>
                          <a:pt x="68" y="252"/>
                        </a:lnTo>
                        <a:lnTo>
                          <a:pt x="68" y="250"/>
                        </a:lnTo>
                        <a:lnTo>
                          <a:pt x="66" y="250"/>
                        </a:lnTo>
                        <a:lnTo>
                          <a:pt x="66" y="249"/>
                        </a:lnTo>
                        <a:lnTo>
                          <a:pt x="65" y="249"/>
                        </a:lnTo>
                        <a:lnTo>
                          <a:pt x="62" y="250"/>
                        </a:lnTo>
                        <a:lnTo>
                          <a:pt x="58" y="250"/>
                        </a:lnTo>
                        <a:lnTo>
                          <a:pt x="55" y="249"/>
                        </a:lnTo>
                        <a:lnTo>
                          <a:pt x="46" y="240"/>
                        </a:lnTo>
                        <a:lnTo>
                          <a:pt x="46" y="238"/>
                        </a:lnTo>
                        <a:lnTo>
                          <a:pt x="44" y="238"/>
                        </a:lnTo>
                        <a:lnTo>
                          <a:pt x="43" y="240"/>
                        </a:lnTo>
                        <a:lnTo>
                          <a:pt x="34" y="244"/>
                        </a:lnTo>
                        <a:lnTo>
                          <a:pt x="29" y="244"/>
                        </a:lnTo>
                        <a:lnTo>
                          <a:pt x="27" y="246"/>
                        </a:lnTo>
                        <a:lnTo>
                          <a:pt x="22" y="247"/>
                        </a:lnTo>
                        <a:lnTo>
                          <a:pt x="19" y="247"/>
                        </a:lnTo>
                        <a:lnTo>
                          <a:pt x="18" y="249"/>
                        </a:lnTo>
                        <a:lnTo>
                          <a:pt x="16" y="249"/>
                        </a:lnTo>
                        <a:lnTo>
                          <a:pt x="0" y="234"/>
                        </a:lnTo>
                        <a:lnTo>
                          <a:pt x="4" y="230"/>
                        </a:lnTo>
                        <a:lnTo>
                          <a:pt x="13" y="230"/>
                        </a:lnTo>
                        <a:lnTo>
                          <a:pt x="13" y="222"/>
                        </a:lnTo>
                        <a:lnTo>
                          <a:pt x="18" y="222"/>
                        </a:lnTo>
                        <a:lnTo>
                          <a:pt x="22" y="218"/>
                        </a:lnTo>
                        <a:lnTo>
                          <a:pt x="22" y="215"/>
                        </a:lnTo>
                        <a:lnTo>
                          <a:pt x="25" y="212"/>
                        </a:lnTo>
                        <a:lnTo>
                          <a:pt x="28" y="210"/>
                        </a:lnTo>
                        <a:lnTo>
                          <a:pt x="31" y="210"/>
                        </a:lnTo>
                        <a:lnTo>
                          <a:pt x="32" y="209"/>
                        </a:lnTo>
                        <a:lnTo>
                          <a:pt x="35" y="209"/>
                        </a:lnTo>
                        <a:lnTo>
                          <a:pt x="37" y="206"/>
                        </a:lnTo>
                        <a:lnTo>
                          <a:pt x="37" y="204"/>
                        </a:lnTo>
                        <a:lnTo>
                          <a:pt x="43" y="204"/>
                        </a:lnTo>
                        <a:lnTo>
                          <a:pt x="43" y="196"/>
                        </a:lnTo>
                        <a:lnTo>
                          <a:pt x="34" y="187"/>
                        </a:lnTo>
                        <a:lnTo>
                          <a:pt x="32" y="184"/>
                        </a:lnTo>
                        <a:lnTo>
                          <a:pt x="32" y="181"/>
                        </a:lnTo>
                        <a:lnTo>
                          <a:pt x="31" y="178"/>
                        </a:lnTo>
                        <a:lnTo>
                          <a:pt x="31" y="172"/>
                        </a:lnTo>
                        <a:lnTo>
                          <a:pt x="32" y="169"/>
                        </a:lnTo>
                        <a:lnTo>
                          <a:pt x="32" y="154"/>
                        </a:lnTo>
                        <a:lnTo>
                          <a:pt x="29" y="141"/>
                        </a:lnTo>
                        <a:lnTo>
                          <a:pt x="29" y="139"/>
                        </a:lnTo>
                        <a:lnTo>
                          <a:pt x="32" y="136"/>
                        </a:lnTo>
                        <a:lnTo>
                          <a:pt x="34" y="133"/>
                        </a:lnTo>
                        <a:lnTo>
                          <a:pt x="34" y="132"/>
                        </a:lnTo>
                        <a:lnTo>
                          <a:pt x="32" y="129"/>
                        </a:lnTo>
                        <a:lnTo>
                          <a:pt x="32" y="128"/>
                        </a:lnTo>
                        <a:lnTo>
                          <a:pt x="34" y="128"/>
                        </a:lnTo>
                        <a:lnTo>
                          <a:pt x="35" y="126"/>
                        </a:lnTo>
                        <a:lnTo>
                          <a:pt x="37" y="126"/>
                        </a:lnTo>
                        <a:lnTo>
                          <a:pt x="38" y="125"/>
                        </a:lnTo>
                        <a:lnTo>
                          <a:pt x="38" y="123"/>
                        </a:lnTo>
                        <a:lnTo>
                          <a:pt x="37" y="120"/>
                        </a:lnTo>
                        <a:lnTo>
                          <a:pt x="35" y="116"/>
                        </a:lnTo>
                        <a:lnTo>
                          <a:pt x="35" y="113"/>
                        </a:lnTo>
                        <a:lnTo>
                          <a:pt x="34" y="108"/>
                        </a:lnTo>
                        <a:lnTo>
                          <a:pt x="32" y="107"/>
                        </a:lnTo>
                        <a:lnTo>
                          <a:pt x="32" y="105"/>
                        </a:lnTo>
                        <a:lnTo>
                          <a:pt x="38" y="91"/>
                        </a:lnTo>
                        <a:lnTo>
                          <a:pt x="28" y="77"/>
                        </a:lnTo>
                        <a:lnTo>
                          <a:pt x="28" y="76"/>
                        </a:lnTo>
                        <a:lnTo>
                          <a:pt x="27" y="74"/>
                        </a:lnTo>
                        <a:lnTo>
                          <a:pt x="27" y="71"/>
                        </a:lnTo>
                        <a:lnTo>
                          <a:pt x="25" y="68"/>
                        </a:lnTo>
                        <a:lnTo>
                          <a:pt x="25" y="61"/>
                        </a:lnTo>
                        <a:lnTo>
                          <a:pt x="24" y="54"/>
                        </a:lnTo>
                        <a:lnTo>
                          <a:pt x="24" y="42"/>
                        </a:lnTo>
                        <a:lnTo>
                          <a:pt x="38" y="39"/>
                        </a:lnTo>
                        <a:lnTo>
                          <a:pt x="49" y="27"/>
                        </a:lnTo>
                        <a:lnTo>
                          <a:pt x="50" y="15"/>
                        </a:lnTo>
                        <a:lnTo>
                          <a:pt x="56" y="15"/>
                        </a:lnTo>
                        <a:lnTo>
                          <a:pt x="62" y="21"/>
                        </a:lnTo>
                        <a:lnTo>
                          <a:pt x="65" y="20"/>
                        </a:lnTo>
                        <a:lnTo>
                          <a:pt x="66" y="17"/>
                        </a:lnTo>
                        <a:lnTo>
                          <a:pt x="69" y="15"/>
                        </a:lnTo>
                        <a:lnTo>
                          <a:pt x="72" y="15"/>
                        </a:lnTo>
                        <a:lnTo>
                          <a:pt x="75" y="14"/>
                        </a:lnTo>
                        <a:lnTo>
                          <a:pt x="81" y="8"/>
                        </a:lnTo>
                        <a:lnTo>
                          <a:pt x="92"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r>
                      <a:rPr lang="de-DE" sz="850" kern="0" dirty="0">
                        <a:solidFill>
                          <a:srgbClr val="000000"/>
                        </a:solidFill>
                        <a:latin typeface="Calibri"/>
                        <a:ea typeface="MS PGothic" charset="0"/>
                        <a:cs typeface="Latha" panose="020B0604020202020204" pitchFamily="34" charset="0"/>
                      </a:rPr>
                      <a:t>K</a:t>
                    </a:r>
                  </a:p>
                  <a:p>
                    <a:pPr eaLnBrk="1" fontAlgn="auto" hangingPunct="1">
                      <a:spcBef>
                        <a:spcPts val="0"/>
                      </a:spcBef>
                      <a:spcAft>
                        <a:spcPts val="0"/>
                      </a:spcAft>
                      <a:defRPr/>
                    </a:pPr>
                    <a:endParaRPr lang="de-DE" sz="850" kern="0" dirty="0">
                      <a:solidFill>
                        <a:srgbClr val="000000"/>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850" kern="0" dirty="0">
                        <a:solidFill>
                          <a:srgbClr val="000000"/>
                        </a:solidFill>
                        <a:latin typeface="Calibri"/>
                        <a:ea typeface="MS PGothic" charset="0"/>
                        <a:cs typeface="Latha" panose="020B0604020202020204" pitchFamily="34" charset="0"/>
                      </a:rPr>
                      <a:t>     Kreis     </a:t>
                    </a:r>
                  </a:p>
                  <a:p>
                    <a:pPr eaLnBrk="1" fontAlgn="auto" hangingPunct="1">
                      <a:spcBef>
                        <a:spcPts val="0"/>
                      </a:spcBef>
                      <a:spcAft>
                        <a:spcPts val="0"/>
                      </a:spcAft>
                      <a:defRPr/>
                    </a:pPr>
                    <a:r>
                      <a:rPr lang="de-DE" sz="850" kern="0" dirty="0">
                        <a:solidFill>
                          <a:srgbClr val="000000"/>
                        </a:solidFill>
                        <a:latin typeface="Calibri"/>
                        <a:ea typeface="MS PGothic" charset="0"/>
                        <a:cs typeface="Latha" panose="020B0604020202020204" pitchFamily="34" charset="0"/>
                      </a:rPr>
                      <a:t>     Höxter</a:t>
                    </a:r>
                  </a:p>
                </p:txBody>
              </p:sp>
              <p:sp>
                <p:nvSpPr>
                  <p:cNvPr id="114" name="Freeform 294" descr="© INSCALE GmbH, 21.06.2010"/>
                  <p:cNvSpPr>
                    <a:spLocks noChangeAspect="1"/>
                  </p:cNvSpPr>
                  <p:nvPr/>
                </p:nvSpPr>
                <p:spPr bwMode="auto">
                  <a:xfrm>
                    <a:off x="3223666" y="4317393"/>
                    <a:ext cx="70746" cy="83231"/>
                  </a:xfrm>
                  <a:custGeom>
                    <a:avLst/>
                    <a:gdLst>
                      <a:gd name="T0" fmla="*/ 2147483646 w 74"/>
                      <a:gd name="T1" fmla="*/ 0 h 87"/>
                      <a:gd name="T2" fmla="*/ 2147483646 w 74"/>
                      <a:gd name="T3" fmla="*/ 2147483646 h 87"/>
                      <a:gd name="T4" fmla="*/ 2147483646 w 74"/>
                      <a:gd name="T5" fmla="*/ 2147483646 h 87"/>
                      <a:gd name="T6" fmla="*/ 2147483646 w 74"/>
                      <a:gd name="T7" fmla="*/ 2147483646 h 87"/>
                      <a:gd name="T8" fmla="*/ 2147483646 w 74"/>
                      <a:gd name="T9" fmla="*/ 2147483646 h 87"/>
                      <a:gd name="T10" fmla="*/ 2147483646 w 74"/>
                      <a:gd name="T11" fmla="*/ 2147483646 h 87"/>
                      <a:gd name="T12" fmla="*/ 2147483646 w 74"/>
                      <a:gd name="T13" fmla="*/ 2147483646 h 87"/>
                      <a:gd name="T14" fmla="*/ 2147483646 w 74"/>
                      <a:gd name="T15" fmla="*/ 2147483646 h 87"/>
                      <a:gd name="T16" fmla="*/ 2147483646 w 74"/>
                      <a:gd name="T17" fmla="*/ 2147483646 h 87"/>
                      <a:gd name="T18" fmla="*/ 2147483646 w 74"/>
                      <a:gd name="T19" fmla="*/ 2147483646 h 87"/>
                      <a:gd name="T20" fmla="*/ 2147483646 w 74"/>
                      <a:gd name="T21" fmla="*/ 2147483646 h 87"/>
                      <a:gd name="T22" fmla="*/ 2147483646 w 74"/>
                      <a:gd name="T23" fmla="*/ 2147483646 h 87"/>
                      <a:gd name="T24" fmla="*/ 2147483646 w 74"/>
                      <a:gd name="T25" fmla="*/ 2147483646 h 87"/>
                      <a:gd name="T26" fmla="*/ 2147483646 w 74"/>
                      <a:gd name="T27" fmla="*/ 2147483646 h 87"/>
                      <a:gd name="T28" fmla="*/ 2147483646 w 74"/>
                      <a:gd name="T29" fmla="*/ 2147483646 h 87"/>
                      <a:gd name="T30" fmla="*/ 2147483646 w 74"/>
                      <a:gd name="T31" fmla="*/ 2147483646 h 87"/>
                      <a:gd name="T32" fmla="*/ 2147483646 w 74"/>
                      <a:gd name="T33" fmla="*/ 2147483646 h 87"/>
                      <a:gd name="T34" fmla="*/ 2147483646 w 74"/>
                      <a:gd name="T35" fmla="*/ 2147483646 h 87"/>
                      <a:gd name="T36" fmla="*/ 2147483646 w 74"/>
                      <a:gd name="T37" fmla="*/ 2147483646 h 87"/>
                      <a:gd name="T38" fmla="*/ 0 w 74"/>
                      <a:gd name="T39" fmla="*/ 2147483646 h 87"/>
                      <a:gd name="T40" fmla="*/ 2147483646 w 74"/>
                      <a:gd name="T41" fmla="*/ 2147483646 h 87"/>
                      <a:gd name="T42" fmla="*/ 2147483646 w 74"/>
                      <a:gd name="T43" fmla="*/ 2147483646 h 87"/>
                      <a:gd name="T44" fmla="*/ 2147483646 w 74"/>
                      <a:gd name="T45" fmla="*/ 2147483646 h 87"/>
                      <a:gd name="T46" fmla="*/ 2147483646 w 74"/>
                      <a:gd name="T47" fmla="*/ 2147483646 h 87"/>
                      <a:gd name="T48" fmla="*/ 2147483646 w 74"/>
                      <a:gd name="T49" fmla="*/ 2147483646 h 87"/>
                      <a:gd name="T50" fmla="*/ 2147483646 w 74"/>
                      <a:gd name="T51" fmla="*/ 2147483646 h 87"/>
                      <a:gd name="T52" fmla="*/ 2147483646 w 74"/>
                      <a:gd name="T53" fmla="*/ 2147483646 h 87"/>
                      <a:gd name="T54" fmla="*/ 2147483646 w 74"/>
                      <a:gd name="T55" fmla="*/ 2147483646 h 87"/>
                      <a:gd name="T56" fmla="*/ 2147483646 w 74"/>
                      <a:gd name="T57" fmla="*/ 2147483646 h 87"/>
                      <a:gd name="T58" fmla="*/ 2147483646 w 74"/>
                      <a:gd name="T59" fmla="*/ 2147483646 h 87"/>
                      <a:gd name="T60" fmla="*/ 2147483646 w 74"/>
                      <a:gd name="T61" fmla="*/ 2147483646 h 87"/>
                      <a:gd name="T62" fmla="*/ 2147483646 w 74"/>
                      <a:gd name="T63" fmla="*/ 2147483646 h 87"/>
                      <a:gd name="T64" fmla="*/ 2147483646 w 74"/>
                      <a:gd name="T65" fmla="*/ 2147483646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4"/>
                      <a:gd name="T100" fmla="*/ 0 h 87"/>
                      <a:gd name="T101" fmla="*/ 74 w 74"/>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4" h="87">
                        <a:moveTo>
                          <a:pt x="40" y="0"/>
                        </a:moveTo>
                        <a:lnTo>
                          <a:pt x="45" y="0"/>
                        </a:lnTo>
                        <a:lnTo>
                          <a:pt x="48" y="3"/>
                        </a:lnTo>
                        <a:lnTo>
                          <a:pt x="48" y="4"/>
                        </a:lnTo>
                        <a:lnTo>
                          <a:pt x="51" y="7"/>
                        </a:lnTo>
                        <a:lnTo>
                          <a:pt x="52" y="10"/>
                        </a:lnTo>
                        <a:lnTo>
                          <a:pt x="55" y="13"/>
                        </a:lnTo>
                        <a:lnTo>
                          <a:pt x="60" y="15"/>
                        </a:lnTo>
                        <a:lnTo>
                          <a:pt x="64" y="15"/>
                        </a:lnTo>
                        <a:lnTo>
                          <a:pt x="68" y="16"/>
                        </a:lnTo>
                        <a:lnTo>
                          <a:pt x="71" y="18"/>
                        </a:lnTo>
                        <a:lnTo>
                          <a:pt x="73" y="21"/>
                        </a:lnTo>
                        <a:lnTo>
                          <a:pt x="74" y="22"/>
                        </a:lnTo>
                        <a:lnTo>
                          <a:pt x="74" y="25"/>
                        </a:lnTo>
                        <a:lnTo>
                          <a:pt x="68" y="30"/>
                        </a:lnTo>
                        <a:lnTo>
                          <a:pt x="68" y="38"/>
                        </a:lnTo>
                        <a:lnTo>
                          <a:pt x="57" y="44"/>
                        </a:lnTo>
                        <a:lnTo>
                          <a:pt x="65" y="64"/>
                        </a:lnTo>
                        <a:lnTo>
                          <a:pt x="71" y="78"/>
                        </a:lnTo>
                        <a:lnTo>
                          <a:pt x="70" y="80"/>
                        </a:lnTo>
                        <a:lnTo>
                          <a:pt x="67" y="80"/>
                        </a:lnTo>
                        <a:lnTo>
                          <a:pt x="65" y="78"/>
                        </a:lnTo>
                        <a:lnTo>
                          <a:pt x="62" y="78"/>
                        </a:lnTo>
                        <a:lnTo>
                          <a:pt x="60" y="77"/>
                        </a:lnTo>
                        <a:lnTo>
                          <a:pt x="58" y="77"/>
                        </a:lnTo>
                        <a:lnTo>
                          <a:pt x="54" y="75"/>
                        </a:lnTo>
                        <a:lnTo>
                          <a:pt x="46" y="75"/>
                        </a:lnTo>
                        <a:lnTo>
                          <a:pt x="43" y="77"/>
                        </a:lnTo>
                        <a:lnTo>
                          <a:pt x="42" y="78"/>
                        </a:lnTo>
                        <a:lnTo>
                          <a:pt x="40" y="78"/>
                        </a:lnTo>
                        <a:lnTo>
                          <a:pt x="39" y="75"/>
                        </a:lnTo>
                        <a:lnTo>
                          <a:pt x="39" y="74"/>
                        </a:lnTo>
                        <a:lnTo>
                          <a:pt x="36" y="71"/>
                        </a:lnTo>
                        <a:lnTo>
                          <a:pt x="30" y="71"/>
                        </a:lnTo>
                        <a:lnTo>
                          <a:pt x="25" y="75"/>
                        </a:lnTo>
                        <a:lnTo>
                          <a:pt x="24" y="78"/>
                        </a:lnTo>
                        <a:lnTo>
                          <a:pt x="15" y="87"/>
                        </a:lnTo>
                        <a:lnTo>
                          <a:pt x="11" y="87"/>
                        </a:lnTo>
                        <a:lnTo>
                          <a:pt x="0" y="74"/>
                        </a:lnTo>
                        <a:lnTo>
                          <a:pt x="0" y="69"/>
                        </a:lnTo>
                        <a:lnTo>
                          <a:pt x="3" y="67"/>
                        </a:lnTo>
                        <a:lnTo>
                          <a:pt x="6" y="65"/>
                        </a:lnTo>
                        <a:lnTo>
                          <a:pt x="6" y="62"/>
                        </a:lnTo>
                        <a:lnTo>
                          <a:pt x="2" y="58"/>
                        </a:lnTo>
                        <a:lnTo>
                          <a:pt x="6" y="53"/>
                        </a:lnTo>
                        <a:lnTo>
                          <a:pt x="6" y="50"/>
                        </a:lnTo>
                        <a:lnTo>
                          <a:pt x="5" y="47"/>
                        </a:lnTo>
                        <a:lnTo>
                          <a:pt x="2" y="46"/>
                        </a:lnTo>
                        <a:lnTo>
                          <a:pt x="0" y="43"/>
                        </a:lnTo>
                        <a:lnTo>
                          <a:pt x="6" y="37"/>
                        </a:lnTo>
                        <a:lnTo>
                          <a:pt x="6" y="34"/>
                        </a:lnTo>
                        <a:lnTo>
                          <a:pt x="5" y="33"/>
                        </a:lnTo>
                        <a:lnTo>
                          <a:pt x="3" y="28"/>
                        </a:lnTo>
                        <a:lnTo>
                          <a:pt x="3" y="22"/>
                        </a:lnTo>
                        <a:lnTo>
                          <a:pt x="5" y="19"/>
                        </a:lnTo>
                        <a:lnTo>
                          <a:pt x="6" y="15"/>
                        </a:lnTo>
                        <a:lnTo>
                          <a:pt x="6" y="13"/>
                        </a:lnTo>
                        <a:lnTo>
                          <a:pt x="8" y="10"/>
                        </a:lnTo>
                        <a:lnTo>
                          <a:pt x="9" y="9"/>
                        </a:lnTo>
                        <a:lnTo>
                          <a:pt x="12" y="7"/>
                        </a:lnTo>
                        <a:lnTo>
                          <a:pt x="15" y="4"/>
                        </a:lnTo>
                        <a:lnTo>
                          <a:pt x="21" y="1"/>
                        </a:lnTo>
                        <a:lnTo>
                          <a:pt x="27" y="1"/>
                        </a:lnTo>
                        <a:lnTo>
                          <a:pt x="31" y="6"/>
                        </a:lnTo>
                        <a:lnTo>
                          <a:pt x="33" y="4"/>
                        </a:lnTo>
                        <a:lnTo>
                          <a:pt x="39" y="1"/>
                        </a:lnTo>
                        <a:lnTo>
                          <a:pt x="40" y="0"/>
                        </a:lnTo>
                        <a:close/>
                      </a:path>
                    </a:pathLst>
                  </a:custGeom>
                  <a:solidFill>
                    <a:schemeClr val="accent3">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5" name="Freeform 295" descr="© INSCALE GmbH, 21.06.2010"/>
                  <p:cNvSpPr>
                    <a:spLocks noChangeAspect="1"/>
                  </p:cNvSpPr>
                  <p:nvPr/>
                </p:nvSpPr>
                <p:spPr bwMode="auto">
                  <a:xfrm>
                    <a:off x="3315220" y="4037184"/>
                    <a:ext cx="201141" cy="260789"/>
                  </a:xfrm>
                  <a:custGeom>
                    <a:avLst/>
                    <a:gdLst>
                      <a:gd name="T0" fmla="*/ 2147483646 w 209"/>
                      <a:gd name="T1" fmla="*/ 2147483646 h 272"/>
                      <a:gd name="T2" fmla="*/ 2147483646 w 209"/>
                      <a:gd name="T3" fmla="*/ 2147483646 h 272"/>
                      <a:gd name="T4" fmla="*/ 2147483646 w 209"/>
                      <a:gd name="T5" fmla="*/ 2147483646 h 272"/>
                      <a:gd name="T6" fmla="*/ 2147483646 w 209"/>
                      <a:gd name="T7" fmla="*/ 2147483646 h 272"/>
                      <a:gd name="T8" fmla="*/ 2147483646 w 209"/>
                      <a:gd name="T9" fmla="*/ 2147483646 h 272"/>
                      <a:gd name="T10" fmla="*/ 2147483646 w 209"/>
                      <a:gd name="T11" fmla="*/ 2147483646 h 272"/>
                      <a:gd name="T12" fmla="*/ 2147483646 w 209"/>
                      <a:gd name="T13" fmla="*/ 2147483646 h 272"/>
                      <a:gd name="T14" fmla="*/ 2147483646 w 209"/>
                      <a:gd name="T15" fmla="*/ 2147483646 h 272"/>
                      <a:gd name="T16" fmla="*/ 2147483646 w 209"/>
                      <a:gd name="T17" fmla="*/ 2147483646 h 272"/>
                      <a:gd name="T18" fmla="*/ 2147483646 w 209"/>
                      <a:gd name="T19" fmla="*/ 2147483646 h 272"/>
                      <a:gd name="T20" fmla="*/ 2147483646 w 209"/>
                      <a:gd name="T21" fmla="*/ 2147483646 h 272"/>
                      <a:gd name="T22" fmla="*/ 2147483646 w 209"/>
                      <a:gd name="T23" fmla="*/ 2147483646 h 272"/>
                      <a:gd name="T24" fmla="*/ 2147483646 w 209"/>
                      <a:gd name="T25" fmla="*/ 2147483646 h 272"/>
                      <a:gd name="T26" fmla="*/ 2147483646 w 209"/>
                      <a:gd name="T27" fmla="*/ 2147483646 h 272"/>
                      <a:gd name="T28" fmla="*/ 2147483646 w 209"/>
                      <a:gd name="T29" fmla="*/ 2147483646 h 272"/>
                      <a:gd name="T30" fmla="*/ 2147483646 w 209"/>
                      <a:gd name="T31" fmla="*/ 2147483646 h 272"/>
                      <a:gd name="T32" fmla="*/ 2147483646 w 209"/>
                      <a:gd name="T33" fmla="*/ 2147483646 h 272"/>
                      <a:gd name="T34" fmla="*/ 2147483646 w 209"/>
                      <a:gd name="T35" fmla="*/ 2147483646 h 272"/>
                      <a:gd name="T36" fmla="*/ 2147483646 w 209"/>
                      <a:gd name="T37" fmla="*/ 2147483646 h 272"/>
                      <a:gd name="T38" fmla="*/ 2147483646 w 209"/>
                      <a:gd name="T39" fmla="*/ 2147483646 h 272"/>
                      <a:gd name="T40" fmla="*/ 2147483646 w 209"/>
                      <a:gd name="T41" fmla="*/ 2147483646 h 272"/>
                      <a:gd name="T42" fmla="*/ 2147483646 w 209"/>
                      <a:gd name="T43" fmla="*/ 2147483646 h 272"/>
                      <a:gd name="T44" fmla="*/ 2147483646 w 209"/>
                      <a:gd name="T45" fmla="*/ 2147483646 h 272"/>
                      <a:gd name="T46" fmla="*/ 2147483646 w 209"/>
                      <a:gd name="T47" fmla="*/ 2147483646 h 272"/>
                      <a:gd name="T48" fmla="*/ 2147483646 w 209"/>
                      <a:gd name="T49" fmla="*/ 2147483646 h 272"/>
                      <a:gd name="T50" fmla="*/ 2147483646 w 209"/>
                      <a:gd name="T51" fmla="*/ 2147483646 h 272"/>
                      <a:gd name="T52" fmla="*/ 2147483646 w 209"/>
                      <a:gd name="T53" fmla="*/ 2147483646 h 272"/>
                      <a:gd name="T54" fmla="*/ 2147483646 w 209"/>
                      <a:gd name="T55" fmla="*/ 2147483646 h 272"/>
                      <a:gd name="T56" fmla="*/ 2147483646 w 209"/>
                      <a:gd name="T57" fmla="*/ 2147483646 h 272"/>
                      <a:gd name="T58" fmla="*/ 2147483646 w 209"/>
                      <a:gd name="T59" fmla="*/ 2147483646 h 272"/>
                      <a:gd name="T60" fmla="*/ 2147483646 w 209"/>
                      <a:gd name="T61" fmla="*/ 2147483646 h 272"/>
                      <a:gd name="T62" fmla="*/ 2147483646 w 209"/>
                      <a:gd name="T63" fmla="*/ 2147483646 h 272"/>
                      <a:gd name="T64" fmla="*/ 2147483646 w 209"/>
                      <a:gd name="T65" fmla="*/ 2147483646 h 272"/>
                      <a:gd name="T66" fmla="*/ 2147483646 w 209"/>
                      <a:gd name="T67" fmla="*/ 2147483646 h 272"/>
                      <a:gd name="T68" fmla="*/ 2147483646 w 209"/>
                      <a:gd name="T69" fmla="*/ 2147483646 h 272"/>
                      <a:gd name="T70" fmla="*/ 2147483646 w 209"/>
                      <a:gd name="T71" fmla="*/ 2147483646 h 272"/>
                      <a:gd name="T72" fmla="*/ 2147483646 w 209"/>
                      <a:gd name="T73" fmla="*/ 2147483646 h 272"/>
                      <a:gd name="T74" fmla="*/ 2147483646 w 209"/>
                      <a:gd name="T75" fmla="*/ 2147483646 h 272"/>
                      <a:gd name="T76" fmla="*/ 2147483646 w 209"/>
                      <a:gd name="T77" fmla="*/ 2147483646 h 272"/>
                      <a:gd name="T78" fmla="*/ 2147483646 w 209"/>
                      <a:gd name="T79" fmla="*/ 2147483646 h 272"/>
                      <a:gd name="T80" fmla="*/ 2147483646 w 209"/>
                      <a:gd name="T81" fmla="*/ 2147483646 h 272"/>
                      <a:gd name="T82" fmla="*/ 2147483646 w 209"/>
                      <a:gd name="T83" fmla="*/ 2147483646 h 272"/>
                      <a:gd name="T84" fmla="*/ 2147483646 w 209"/>
                      <a:gd name="T85" fmla="*/ 2147483646 h 272"/>
                      <a:gd name="T86" fmla="*/ 2147483646 w 209"/>
                      <a:gd name="T87" fmla="*/ 2147483646 h 272"/>
                      <a:gd name="T88" fmla="*/ 2147483646 w 209"/>
                      <a:gd name="T89" fmla="*/ 2147483646 h 272"/>
                      <a:gd name="T90" fmla="*/ 2147483646 w 209"/>
                      <a:gd name="T91" fmla="*/ 2147483646 h 272"/>
                      <a:gd name="T92" fmla="*/ 2147483646 w 209"/>
                      <a:gd name="T93" fmla="*/ 2147483646 h 272"/>
                      <a:gd name="T94" fmla="*/ 2147483646 w 209"/>
                      <a:gd name="T95" fmla="*/ 2147483646 h 272"/>
                      <a:gd name="T96" fmla="*/ 2147483646 w 209"/>
                      <a:gd name="T97" fmla="*/ 2147483646 h 272"/>
                      <a:gd name="T98" fmla="*/ 2147483646 w 209"/>
                      <a:gd name="T99" fmla="*/ 2147483646 h 272"/>
                      <a:gd name="T100" fmla="*/ 2147483646 w 209"/>
                      <a:gd name="T101" fmla="*/ 2147483646 h 2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9"/>
                      <a:gd name="T154" fmla="*/ 0 h 272"/>
                      <a:gd name="T155" fmla="*/ 209 w 209"/>
                      <a:gd name="T156" fmla="*/ 272 h 2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9" h="272">
                        <a:moveTo>
                          <a:pt x="37" y="0"/>
                        </a:moveTo>
                        <a:lnTo>
                          <a:pt x="37" y="3"/>
                        </a:lnTo>
                        <a:lnTo>
                          <a:pt x="40" y="6"/>
                        </a:lnTo>
                        <a:lnTo>
                          <a:pt x="43" y="6"/>
                        </a:lnTo>
                        <a:lnTo>
                          <a:pt x="45" y="5"/>
                        </a:lnTo>
                        <a:lnTo>
                          <a:pt x="49" y="3"/>
                        </a:lnTo>
                        <a:lnTo>
                          <a:pt x="51" y="2"/>
                        </a:lnTo>
                        <a:lnTo>
                          <a:pt x="54" y="2"/>
                        </a:lnTo>
                        <a:lnTo>
                          <a:pt x="55" y="3"/>
                        </a:lnTo>
                        <a:lnTo>
                          <a:pt x="58" y="3"/>
                        </a:lnTo>
                        <a:lnTo>
                          <a:pt x="60" y="5"/>
                        </a:lnTo>
                        <a:lnTo>
                          <a:pt x="63" y="6"/>
                        </a:lnTo>
                        <a:lnTo>
                          <a:pt x="63" y="9"/>
                        </a:lnTo>
                        <a:lnTo>
                          <a:pt x="61" y="11"/>
                        </a:lnTo>
                        <a:lnTo>
                          <a:pt x="61" y="15"/>
                        </a:lnTo>
                        <a:lnTo>
                          <a:pt x="63" y="16"/>
                        </a:lnTo>
                        <a:lnTo>
                          <a:pt x="69" y="16"/>
                        </a:lnTo>
                        <a:lnTo>
                          <a:pt x="70" y="15"/>
                        </a:lnTo>
                        <a:lnTo>
                          <a:pt x="72" y="15"/>
                        </a:lnTo>
                        <a:lnTo>
                          <a:pt x="76" y="19"/>
                        </a:lnTo>
                        <a:lnTo>
                          <a:pt x="76" y="21"/>
                        </a:lnTo>
                        <a:lnTo>
                          <a:pt x="74" y="22"/>
                        </a:lnTo>
                        <a:lnTo>
                          <a:pt x="72" y="28"/>
                        </a:lnTo>
                        <a:lnTo>
                          <a:pt x="72" y="31"/>
                        </a:lnTo>
                        <a:lnTo>
                          <a:pt x="70" y="34"/>
                        </a:lnTo>
                        <a:lnTo>
                          <a:pt x="70" y="36"/>
                        </a:lnTo>
                        <a:lnTo>
                          <a:pt x="72" y="39"/>
                        </a:lnTo>
                        <a:lnTo>
                          <a:pt x="72" y="43"/>
                        </a:lnTo>
                        <a:lnTo>
                          <a:pt x="74" y="46"/>
                        </a:lnTo>
                        <a:lnTo>
                          <a:pt x="79" y="55"/>
                        </a:lnTo>
                        <a:lnTo>
                          <a:pt x="82" y="55"/>
                        </a:lnTo>
                        <a:lnTo>
                          <a:pt x="83" y="53"/>
                        </a:lnTo>
                        <a:lnTo>
                          <a:pt x="91" y="53"/>
                        </a:lnTo>
                        <a:lnTo>
                          <a:pt x="91" y="68"/>
                        </a:lnTo>
                        <a:lnTo>
                          <a:pt x="101" y="79"/>
                        </a:lnTo>
                        <a:lnTo>
                          <a:pt x="101" y="80"/>
                        </a:lnTo>
                        <a:lnTo>
                          <a:pt x="100" y="82"/>
                        </a:lnTo>
                        <a:lnTo>
                          <a:pt x="100" y="89"/>
                        </a:lnTo>
                        <a:lnTo>
                          <a:pt x="103" y="95"/>
                        </a:lnTo>
                        <a:lnTo>
                          <a:pt x="106" y="96"/>
                        </a:lnTo>
                        <a:lnTo>
                          <a:pt x="116" y="96"/>
                        </a:lnTo>
                        <a:lnTo>
                          <a:pt x="119" y="95"/>
                        </a:lnTo>
                        <a:lnTo>
                          <a:pt x="122" y="95"/>
                        </a:lnTo>
                        <a:lnTo>
                          <a:pt x="125" y="93"/>
                        </a:lnTo>
                        <a:lnTo>
                          <a:pt x="129" y="93"/>
                        </a:lnTo>
                        <a:lnTo>
                          <a:pt x="132" y="95"/>
                        </a:lnTo>
                        <a:lnTo>
                          <a:pt x="137" y="95"/>
                        </a:lnTo>
                        <a:lnTo>
                          <a:pt x="138" y="96"/>
                        </a:lnTo>
                        <a:lnTo>
                          <a:pt x="140" y="96"/>
                        </a:lnTo>
                        <a:lnTo>
                          <a:pt x="140" y="107"/>
                        </a:lnTo>
                        <a:lnTo>
                          <a:pt x="143" y="110"/>
                        </a:lnTo>
                        <a:lnTo>
                          <a:pt x="144" y="113"/>
                        </a:lnTo>
                        <a:lnTo>
                          <a:pt x="150" y="116"/>
                        </a:lnTo>
                        <a:lnTo>
                          <a:pt x="156" y="114"/>
                        </a:lnTo>
                        <a:lnTo>
                          <a:pt x="171" y="108"/>
                        </a:lnTo>
                        <a:lnTo>
                          <a:pt x="174" y="107"/>
                        </a:lnTo>
                        <a:lnTo>
                          <a:pt x="184" y="113"/>
                        </a:lnTo>
                        <a:lnTo>
                          <a:pt x="180" y="121"/>
                        </a:lnTo>
                        <a:lnTo>
                          <a:pt x="190" y="141"/>
                        </a:lnTo>
                        <a:lnTo>
                          <a:pt x="190" y="144"/>
                        </a:lnTo>
                        <a:lnTo>
                          <a:pt x="188" y="148"/>
                        </a:lnTo>
                        <a:lnTo>
                          <a:pt x="188" y="152"/>
                        </a:lnTo>
                        <a:lnTo>
                          <a:pt x="187" y="157"/>
                        </a:lnTo>
                        <a:lnTo>
                          <a:pt x="187" y="160"/>
                        </a:lnTo>
                        <a:lnTo>
                          <a:pt x="190" y="164"/>
                        </a:lnTo>
                        <a:lnTo>
                          <a:pt x="193" y="170"/>
                        </a:lnTo>
                        <a:lnTo>
                          <a:pt x="196" y="172"/>
                        </a:lnTo>
                        <a:lnTo>
                          <a:pt x="208" y="172"/>
                        </a:lnTo>
                        <a:lnTo>
                          <a:pt x="209" y="187"/>
                        </a:lnTo>
                        <a:lnTo>
                          <a:pt x="209" y="198"/>
                        </a:lnTo>
                        <a:lnTo>
                          <a:pt x="208" y="200"/>
                        </a:lnTo>
                        <a:lnTo>
                          <a:pt x="206" y="203"/>
                        </a:lnTo>
                        <a:lnTo>
                          <a:pt x="200" y="209"/>
                        </a:lnTo>
                        <a:lnTo>
                          <a:pt x="197" y="210"/>
                        </a:lnTo>
                        <a:lnTo>
                          <a:pt x="194" y="210"/>
                        </a:lnTo>
                        <a:lnTo>
                          <a:pt x="190" y="212"/>
                        </a:lnTo>
                        <a:lnTo>
                          <a:pt x="188" y="213"/>
                        </a:lnTo>
                        <a:lnTo>
                          <a:pt x="187" y="213"/>
                        </a:lnTo>
                        <a:lnTo>
                          <a:pt x="197" y="223"/>
                        </a:lnTo>
                        <a:lnTo>
                          <a:pt x="197" y="231"/>
                        </a:lnTo>
                        <a:lnTo>
                          <a:pt x="193" y="240"/>
                        </a:lnTo>
                        <a:lnTo>
                          <a:pt x="193" y="247"/>
                        </a:lnTo>
                        <a:lnTo>
                          <a:pt x="194" y="250"/>
                        </a:lnTo>
                        <a:lnTo>
                          <a:pt x="196" y="252"/>
                        </a:lnTo>
                        <a:lnTo>
                          <a:pt x="197" y="255"/>
                        </a:lnTo>
                        <a:lnTo>
                          <a:pt x="196" y="257"/>
                        </a:lnTo>
                        <a:lnTo>
                          <a:pt x="194" y="257"/>
                        </a:lnTo>
                        <a:lnTo>
                          <a:pt x="193" y="256"/>
                        </a:lnTo>
                        <a:lnTo>
                          <a:pt x="190" y="256"/>
                        </a:lnTo>
                        <a:lnTo>
                          <a:pt x="188" y="255"/>
                        </a:lnTo>
                        <a:lnTo>
                          <a:pt x="185" y="253"/>
                        </a:lnTo>
                        <a:lnTo>
                          <a:pt x="184" y="256"/>
                        </a:lnTo>
                        <a:lnTo>
                          <a:pt x="180" y="260"/>
                        </a:lnTo>
                        <a:lnTo>
                          <a:pt x="178" y="263"/>
                        </a:lnTo>
                        <a:lnTo>
                          <a:pt x="175" y="266"/>
                        </a:lnTo>
                        <a:lnTo>
                          <a:pt x="172" y="268"/>
                        </a:lnTo>
                        <a:lnTo>
                          <a:pt x="168" y="271"/>
                        </a:lnTo>
                        <a:lnTo>
                          <a:pt x="163" y="272"/>
                        </a:lnTo>
                        <a:lnTo>
                          <a:pt x="159" y="272"/>
                        </a:lnTo>
                        <a:lnTo>
                          <a:pt x="153" y="263"/>
                        </a:lnTo>
                        <a:lnTo>
                          <a:pt x="144" y="271"/>
                        </a:lnTo>
                        <a:lnTo>
                          <a:pt x="137" y="265"/>
                        </a:lnTo>
                        <a:lnTo>
                          <a:pt x="134" y="266"/>
                        </a:lnTo>
                        <a:lnTo>
                          <a:pt x="131" y="266"/>
                        </a:lnTo>
                        <a:lnTo>
                          <a:pt x="126" y="262"/>
                        </a:lnTo>
                        <a:lnTo>
                          <a:pt x="125" y="259"/>
                        </a:lnTo>
                        <a:lnTo>
                          <a:pt x="123" y="257"/>
                        </a:lnTo>
                        <a:lnTo>
                          <a:pt x="120" y="259"/>
                        </a:lnTo>
                        <a:lnTo>
                          <a:pt x="119" y="260"/>
                        </a:lnTo>
                        <a:lnTo>
                          <a:pt x="110" y="265"/>
                        </a:lnTo>
                        <a:lnTo>
                          <a:pt x="108" y="265"/>
                        </a:lnTo>
                        <a:lnTo>
                          <a:pt x="104" y="260"/>
                        </a:lnTo>
                        <a:lnTo>
                          <a:pt x="104" y="256"/>
                        </a:lnTo>
                        <a:lnTo>
                          <a:pt x="103" y="255"/>
                        </a:lnTo>
                        <a:lnTo>
                          <a:pt x="101" y="252"/>
                        </a:lnTo>
                        <a:lnTo>
                          <a:pt x="100" y="250"/>
                        </a:lnTo>
                        <a:lnTo>
                          <a:pt x="98" y="247"/>
                        </a:lnTo>
                        <a:lnTo>
                          <a:pt x="94" y="243"/>
                        </a:lnTo>
                        <a:lnTo>
                          <a:pt x="92" y="240"/>
                        </a:lnTo>
                        <a:lnTo>
                          <a:pt x="91" y="238"/>
                        </a:lnTo>
                        <a:lnTo>
                          <a:pt x="85" y="235"/>
                        </a:lnTo>
                        <a:lnTo>
                          <a:pt x="83" y="234"/>
                        </a:lnTo>
                        <a:lnTo>
                          <a:pt x="82" y="234"/>
                        </a:lnTo>
                        <a:lnTo>
                          <a:pt x="82" y="231"/>
                        </a:lnTo>
                        <a:lnTo>
                          <a:pt x="83" y="228"/>
                        </a:lnTo>
                        <a:lnTo>
                          <a:pt x="83" y="223"/>
                        </a:lnTo>
                        <a:lnTo>
                          <a:pt x="85" y="219"/>
                        </a:lnTo>
                        <a:lnTo>
                          <a:pt x="86" y="213"/>
                        </a:lnTo>
                        <a:lnTo>
                          <a:pt x="85" y="209"/>
                        </a:lnTo>
                        <a:lnTo>
                          <a:pt x="85" y="204"/>
                        </a:lnTo>
                        <a:lnTo>
                          <a:pt x="83" y="201"/>
                        </a:lnTo>
                        <a:lnTo>
                          <a:pt x="74" y="192"/>
                        </a:lnTo>
                        <a:lnTo>
                          <a:pt x="57" y="189"/>
                        </a:lnTo>
                        <a:lnTo>
                          <a:pt x="55" y="187"/>
                        </a:lnTo>
                        <a:lnTo>
                          <a:pt x="52" y="185"/>
                        </a:lnTo>
                        <a:lnTo>
                          <a:pt x="51" y="184"/>
                        </a:lnTo>
                        <a:lnTo>
                          <a:pt x="46" y="184"/>
                        </a:lnTo>
                        <a:lnTo>
                          <a:pt x="43" y="185"/>
                        </a:lnTo>
                        <a:lnTo>
                          <a:pt x="40" y="185"/>
                        </a:lnTo>
                        <a:lnTo>
                          <a:pt x="39" y="187"/>
                        </a:lnTo>
                        <a:lnTo>
                          <a:pt x="37" y="187"/>
                        </a:lnTo>
                        <a:lnTo>
                          <a:pt x="37" y="185"/>
                        </a:lnTo>
                        <a:lnTo>
                          <a:pt x="36" y="184"/>
                        </a:lnTo>
                        <a:lnTo>
                          <a:pt x="35" y="181"/>
                        </a:lnTo>
                        <a:lnTo>
                          <a:pt x="32" y="178"/>
                        </a:lnTo>
                        <a:lnTo>
                          <a:pt x="30" y="175"/>
                        </a:lnTo>
                        <a:lnTo>
                          <a:pt x="24" y="172"/>
                        </a:lnTo>
                        <a:lnTo>
                          <a:pt x="14" y="172"/>
                        </a:lnTo>
                        <a:lnTo>
                          <a:pt x="11" y="173"/>
                        </a:lnTo>
                        <a:lnTo>
                          <a:pt x="0" y="161"/>
                        </a:lnTo>
                        <a:lnTo>
                          <a:pt x="9" y="152"/>
                        </a:lnTo>
                        <a:lnTo>
                          <a:pt x="9" y="148"/>
                        </a:lnTo>
                        <a:lnTo>
                          <a:pt x="11" y="145"/>
                        </a:lnTo>
                        <a:lnTo>
                          <a:pt x="11" y="144"/>
                        </a:lnTo>
                        <a:lnTo>
                          <a:pt x="12" y="141"/>
                        </a:lnTo>
                        <a:lnTo>
                          <a:pt x="12" y="139"/>
                        </a:lnTo>
                        <a:lnTo>
                          <a:pt x="14" y="136"/>
                        </a:lnTo>
                        <a:lnTo>
                          <a:pt x="21" y="138"/>
                        </a:lnTo>
                        <a:lnTo>
                          <a:pt x="27" y="132"/>
                        </a:lnTo>
                        <a:lnTo>
                          <a:pt x="30" y="126"/>
                        </a:lnTo>
                        <a:lnTo>
                          <a:pt x="30" y="123"/>
                        </a:lnTo>
                        <a:lnTo>
                          <a:pt x="29" y="121"/>
                        </a:lnTo>
                        <a:lnTo>
                          <a:pt x="29" y="120"/>
                        </a:lnTo>
                        <a:lnTo>
                          <a:pt x="35" y="111"/>
                        </a:lnTo>
                        <a:lnTo>
                          <a:pt x="30" y="111"/>
                        </a:lnTo>
                        <a:lnTo>
                          <a:pt x="30" y="108"/>
                        </a:lnTo>
                        <a:lnTo>
                          <a:pt x="29" y="108"/>
                        </a:lnTo>
                        <a:lnTo>
                          <a:pt x="26" y="107"/>
                        </a:lnTo>
                        <a:lnTo>
                          <a:pt x="24" y="105"/>
                        </a:lnTo>
                        <a:lnTo>
                          <a:pt x="23" y="108"/>
                        </a:lnTo>
                        <a:lnTo>
                          <a:pt x="23" y="113"/>
                        </a:lnTo>
                        <a:lnTo>
                          <a:pt x="20" y="113"/>
                        </a:lnTo>
                        <a:lnTo>
                          <a:pt x="18" y="111"/>
                        </a:lnTo>
                        <a:lnTo>
                          <a:pt x="18" y="108"/>
                        </a:lnTo>
                        <a:lnTo>
                          <a:pt x="12" y="102"/>
                        </a:lnTo>
                        <a:lnTo>
                          <a:pt x="18" y="90"/>
                        </a:lnTo>
                        <a:lnTo>
                          <a:pt x="11" y="84"/>
                        </a:lnTo>
                        <a:lnTo>
                          <a:pt x="9" y="64"/>
                        </a:lnTo>
                        <a:lnTo>
                          <a:pt x="11" y="65"/>
                        </a:lnTo>
                        <a:lnTo>
                          <a:pt x="17" y="65"/>
                        </a:lnTo>
                        <a:lnTo>
                          <a:pt x="18" y="64"/>
                        </a:lnTo>
                        <a:lnTo>
                          <a:pt x="20" y="61"/>
                        </a:lnTo>
                        <a:lnTo>
                          <a:pt x="20" y="53"/>
                        </a:lnTo>
                        <a:lnTo>
                          <a:pt x="23" y="45"/>
                        </a:lnTo>
                        <a:lnTo>
                          <a:pt x="24" y="43"/>
                        </a:lnTo>
                        <a:lnTo>
                          <a:pt x="24" y="42"/>
                        </a:lnTo>
                        <a:lnTo>
                          <a:pt x="23" y="39"/>
                        </a:lnTo>
                        <a:lnTo>
                          <a:pt x="21" y="37"/>
                        </a:lnTo>
                        <a:lnTo>
                          <a:pt x="23" y="37"/>
                        </a:lnTo>
                        <a:lnTo>
                          <a:pt x="23" y="36"/>
                        </a:lnTo>
                        <a:lnTo>
                          <a:pt x="24" y="33"/>
                        </a:lnTo>
                        <a:lnTo>
                          <a:pt x="24" y="27"/>
                        </a:lnTo>
                        <a:lnTo>
                          <a:pt x="23" y="24"/>
                        </a:lnTo>
                        <a:lnTo>
                          <a:pt x="23" y="22"/>
                        </a:lnTo>
                        <a:lnTo>
                          <a:pt x="21" y="21"/>
                        </a:lnTo>
                        <a:lnTo>
                          <a:pt x="21" y="18"/>
                        </a:lnTo>
                        <a:lnTo>
                          <a:pt x="23" y="15"/>
                        </a:lnTo>
                        <a:lnTo>
                          <a:pt x="24" y="13"/>
                        </a:lnTo>
                        <a:lnTo>
                          <a:pt x="26" y="11"/>
                        </a:lnTo>
                        <a:lnTo>
                          <a:pt x="26" y="6"/>
                        </a:lnTo>
                        <a:lnTo>
                          <a:pt x="27" y="5"/>
                        </a:lnTo>
                        <a:lnTo>
                          <a:pt x="29" y="5"/>
                        </a:lnTo>
                        <a:lnTo>
                          <a:pt x="30" y="3"/>
                        </a:lnTo>
                        <a:lnTo>
                          <a:pt x="33" y="3"/>
                        </a:lnTo>
                        <a:lnTo>
                          <a:pt x="37" y="0"/>
                        </a:lnTo>
                        <a:close/>
                      </a:path>
                    </a:pathLst>
                  </a:custGeom>
                  <a:solidFill>
                    <a:srgbClr val="FFC000"/>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6" name="Freeform 296" descr="© INSCALE GmbH, 21.06.2010"/>
                  <p:cNvSpPr>
                    <a:spLocks noChangeAspect="1"/>
                  </p:cNvSpPr>
                  <p:nvPr/>
                </p:nvSpPr>
                <p:spPr bwMode="auto">
                  <a:xfrm>
                    <a:off x="3487229" y="4044120"/>
                    <a:ext cx="202528" cy="192817"/>
                  </a:xfrm>
                  <a:custGeom>
                    <a:avLst/>
                    <a:gdLst>
                      <a:gd name="T0" fmla="*/ 2147483646 w 213"/>
                      <a:gd name="T1" fmla="*/ 2147483646 h 201"/>
                      <a:gd name="T2" fmla="*/ 2147483646 w 213"/>
                      <a:gd name="T3" fmla="*/ 2147483646 h 201"/>
                      <a:gd name="T4" fmla="*/ 2147483646 w 213"/>
                      <a:gd name="T5" fmla="*/ 2147483646 h 201"/>
                      <a:gd name="T6" fmla="*/ 2147483646 w 213"/>
                      <a:gd name="T7" fmla="*/ 2147483646 h 201"/>
                      <a:gd name="T8" fmla="*/ 2147483646 w 213"/>
                      <a:gd name="T9" fmla="*/ 2147483646 h 201"/>
                      <a:gd name="T10" fmla="*/ 2147483646 w 213"/>
                      <a:gd name="T11" fmla="*/ 2147483646 h 201"/>
                      <a:gd name="T12" fmla="*/ 2147483646 w 213"/>
                      <a:gd name="T13" fmla="*/ 2147483646 h 201"/>
                      <a:gd name="T14" fmla="*/ 2147483646 w 213"/>
                      <a:gd name="T15" fmla="*/ 2147483646 h 201"/>
                      <a:gd name="T16" fmla="*/ 2147483646 w 213"/>
                      <a:gd name="T17" fmla="*/ 2147483646 h 201"/>
                      <a:gd name="T18" fmla="*/ 2147483646 w 213"/>
                      <a:gd name="T19" fmla="*/ 2147483646 h 201"/>
                      <a:gd name="T20" fmla="*/ 2147483646 w 213"/>
                      <a:gd name="T21" fmla="*/ 2147483646 h 201"/>
                      <a:gd name="T22" fmla="*/ 2147483646 w 213"/>
                      <a:gd name="T23" fmla="*/ 2147483646 h 201"/>
                      <a:gd name="T24" fmla="*/ 2147483646 w 213"/>
                      <a:gd name="T25" fmla="*/ 2147483646 h 201"/>
                      <a:gd name="T26" fmla="*/ 2147483646 w 213"/>
                      <a:gd name="T27" fmla="*/ 2147483646 h 201"/>
                      <a:gd name="T28" fmla="*/ 2147483646 w 213"/>
                      <a:gd name="T29" fmla="*/ 2147483646 h 201"/>
                      <a:gd name="T30" fmla="*/ 2147483646 w 213"/>
                      <a:gd name="T31" fmla="*/ 2147483646 h 201"/>
                      <a:gd name="T32" fmla="*/ 2147483646 w 213"/>
                      <a:gd name="T33" fmla="*/ 2147483646 h 201"/>
                      <a:gd name="T34" fmla="*/ 2147483646 w 213"/>
                      <a:gd name="T35" fmla="*/ 2147483646 h 201"/>
                      <a:gd name="T36" fmla="*/ 2147483646 w 213"/>
                      <a:gd name="T37" fmla="*/ 2147483646 h 201"/>
                      <a:gd name="T38" fmla="*/ 2147483646 w 213"/>
                      <a:gd name="T39" fmla="*/ 2147483646 h 201"/>
                      <a:gd name="T40" fmla="*/ 2147483646 w 213"/>
                      <a:gd name="T41" fmla="*/ 2147483646 h 201"/>
                      <a:gd name="T42" fmla="*/ 2147483646 w 213"/>
                      <a:gd name="T43" fmla="*/ 2147483646 h 201"/>
                      <a:gd name="T44" fmla="*/ 2147483646 w 213"/>
                      <a:gd name="T45" fmla="*/ 2147483646 h 201"/>
                      <a:gd name="T46" fmla="*/ 2147483646 w 213"/>
                      <a:gd name="T47" fmla="*/ 2147483646 h 201"/>
                      <a:gd name="T48" fmla="*/ 2147483646 w 213"/>
                      <a:gd name="T49" fmla="*/ 2147483646 h 201"/>
                      <a:gd name="T50" fmla="*/ 2147483646 w 213"/>
                      <a:gd name="T51" fmla="*/ 2147483646 h 201"/>
                      <a:gd name="T52" fmla="*/ 2147483646 w 213"/>
                      <a:gd name="T53" fmla="*/ 2147483646 h 201"/>
                      <a:gd name="T54" fmla="*/ 2147483646 w 213"/>
                      <a:gd name="T55" fmla="*/ 2147483646 h 201"/>
                      <a:gd name="T56" fmla="*/ 2147483646 w 213"/>
                      <a:gd name="T57" fmla="*/ 2147483646 h 201"/>
                      <a:gd name="T58" fmla="*/ 2147483646 w 213"/>
                      <a:gd name="T59" fmla="*/ 2147483646 h 201"/>
                      <a:gd name="T60" fmla="*/ 2147483646 w 213"/>
                      <a:gd name="T61" fmla="*/ 2147483646 h 201"/>
                      <a:gd name="T62" fmla="*/ 2147483646 w 213"/>
                      <a:gd name="T63" fmla="*/ 2147483646 h 201"/>
                      <a:gd name="T64" fmla="*/ 2147483646 w 213"/>
                      <a:gd name="T65" fmla="*/ 2147483646 h 201"/>
                      <a:gd name="T66" fmla="*/ 2147483646 w 213"/>
                      <a:gd name="T67" fmla="*/ 2147483646 h 201"/>
                      <a:gd name="T68" fmla="*/ 2147483646 w 213"/>
                      <a:gd name="T69" fmla="*/ 2147483646 h 201"/>
                      <a:gd name="T70" fmla="*/ 2147483646 w 213"/>
                      <a:gd name="T71" fmla="*/ 2147483646 h 201"/>
                      <a:gd name="T72" fmla="*/ 2147483646 w 213"/>
                      <a:gd name="T73" fmla="*/ 2147483646 h 201"/>
                      <a:gd name="T74" fmla="*/ 2147483646 w 213"/>
                      <a:gd name="T75" fmla="*/ 2147483646 h 201"/>
                      <a:gd name="T76" fmla="*/ 2147483646 w 213"/>
                      <a:gd name="T77" fmla="*/ 2147483646 h 201"/>
                      <a:gd name="T78" fmla="*/ 2147483646 w 213"/>
                      <a:gd name="T79" fmla="*/ 2147483646 h 201"/>
                      <a:gd name="T80" fmla="*/ 2147483646 w 213"/>
                      <a:gd name="T81" fmla="*/ 2147483646 h 201"/>
                      <a:gd name="T82" fmla="*/ 2147483646 w 213"/>
                      <a:gd name="T83" fmla="*/ 2147483646 h 201"/>
                      <a:gd name="T84" fmla="*/ 2147483646 w 213"/>
                      <a:gd name="T85" fmla="*/ 2147483646 h 201"/>
                      <a:gd name="T86" fmla="*/ 2147483646 w 213"/>
                      <a:gd name="T87" fmla="*/ 2147483646 h 201"/>
                      <a:gd name="T88" fmla="*/ 2147483646 w 213"/>
                      <a:gd name="T89" fmla="*/ 2147483646 h 201"/>
                      <a:gd name="T90" fmla="*/ 2147483646 w 213"/>
                      <a:gd name="T91" fmla="*/ 2147483646 h 201"/>
                      <a:gd name="T92" fmla="*/ 2147483646 w 213"/>
                      <a:gd name="T93" fmla="*/ 2147483646 h 201"/>
                      <a:gd name="T94" fmla="*/ 2147483646 w 213"/>
                      <a:gd name="T95" fmla="*/ 2147483646 h 201"/>
                      <a:gd name="T96" fmla="*/ 2147483646 w 213"/>
                      <a:gd name="T97" fmla="*/ 2147483646 h 201"/>
                      <a:gd name="T98" fmla="*/ 2147483646 w 213"/>
                      <a:gd name="T99" fmla="*/ 2147483646 h 201"/>
                      <a:gd name="T100" fmla="*/ 2147483646 w 213"/>
                      <a:gd name="T101" fmla="*/ 2147483646 h 201"/>
                      <a:gd name="T102" fmla="*/ 2147483646 w 213"/>
                      <a:gd name="T103" fmla="*/ 2147483646 h 201"/>
                      <a:gd name="T104" fmla="*/ 2147483646 w 213"/>
                      <a:gd name="T105" fmla="*/ 2147483646 h 201"/>
                      <a:gd name="T106" fmla="*/ 2147483646 w 213"/>
                      <a:gd name="T107" fmla="*/ 2147483646 h 201"/>
                      <a:gd name="T108" fmla="*/ 2147483646 w 213"/>
                      <a:gd name="T109" fmla="*/ 2147483646 h 201"/>
                      <a:gd name="T110" fmla="*/ 2147483646 w 213"/>
                      <a:gd name="T111" fmla="*/ 0 h 2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3"/>
                      <a:gd name="T169" fmla="*/ 0 h 201"/>
                      <a:gd name="T170" fmla="*/ 213 w 213"/>
                      <a:gd name="T171" fmla="*/ 201 h 2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3" h="201">
                        <a:moveTo>
                          <a:pt x="137" y="0"/>
                        </a:moveTo>
                        <a:lnTo>
                          <a:pt x="143" y="0"/>
                        </a:lnTo>
                        <a:lnTo>
                          <a:pt x="149" y="5"/>
                        </a:lnTo>
                        <a:lnTo>
                          <a:pt x="150" y="5"/>
                        </a:lnTo>
                        <a:lnTo>
                          <a:pt x="152" y="4"/>
                        </a:lnTo>
                        <a:lnTo>
                          <a:pt x="158" y="4"/>
                        </a:lnTo>
                        <a:lnTo>
                          <a:pt x="161" y="5"/>
                        </a:lnTo>
                        <a:lnTo>
                          <a:pt x="162" y="7"/>
                        </a:lnTo>
                        <a:lnTo>
                          <a:pt x="164" y="7"/>
                        </a:lnTo>
                        <a:lnTo>
                          <a:pt x="164" y="10"/>
                        </a:lnTo>
                        <a:lnTo>
                          <a:pt x="162" y="11"/>
                        </a:lnTo>
                        <a:lnTo>
                          <a:pt x="161" y="14"/>
                        </a:lnTo>
                        <a:lnTo>
                          <a:pt x="158" y="16"/>
                        </a:lnTo>
                        <a:lnTo>
                          <a:pt x="156" y="19"/>
                        </a:lnTo>
                        <a:lnTo>
                          <a:pt x="156" y="28"/>
                        </a:lnTo>
                        <a:lnTo>
                          <a:pt x="162" y="34"/>
                        </a:lnTo>
                        <a:lnTo>
                          <a:pt x="164" y="37"/>
                        </a:lnTo>
                        <a:lnTo>
                          <a:pt x="174" y="47"/>
                        </a:lnTo>
                        <a:lnTo>
                          <a:pt x="165" y="65"/>
                        </a:lnTo>
                        <a:lnTo>
                          <a:pt x="170" y="69"/>
                        </a:lnTo>
                        <a:lnTo>
                          <a:pt x="177" y="69"/>
                        </a:lnTo>
                        <a:lnTo>
                          <a:pt x="180" y="66"/>
                        </a:lnTo>
                        <a:lnTo>
                          <a:pt x="181" y="66"/>
                        </a:lnTo>
                        <a:lnTo>
                          <a:pt x="183" y="65"/>
                        </a:lnTo>
                        <a:lnTo>
                          <a:pt x="186" y="65"/>
                        </a:lnTo>
                        <a:lnTo>
                          <a:pt x="187" y="66"/>
                        </a:lnTo>
                        <a:lnTo>
                          <a:pt x="190" y="72"/>
                        </a:lnTo>
                        <a:lnTo>
                          <a:pt x="190" y="75"/>
                        </a:lnTo>
                        <a:lnTo>
                          <a:pt x="192" y="76"/>
                        </a:lnTo>
                        <a:lnTo>
                          <a:pt x="192" y="78"/>
                        </a:lnTo>
                        <a:lnTo>
                          <a:pt x="199" y="79"/>
                        </a:lnTo>
                        <a:lnTo>
                          <a:pt x="207" y="85"/>
                        </a:lnTo>
                        <a:lnTo>
                          <a:pt x="208" y="93"/>
                        </a:lnTo>
                        <a:lnTo>
                          <a:pt x="205" y="96"/>
                        </a:lnTo>
                        <a:lnTo>
                          <a:pt x="204" y="99"/>
                        </a:lnTo>
                        <a:lnTo>
                          <a:pt x="204" y="102"/>
                        </a:lnTo>
                        <a:lnTo>
                          <a:pt x="205" y="105"/>
                        </a:lnTo>
                        <a:lnTo>
                          <a:pt x="205" y="108"/>
                        </a:lnTo>
                        <a:lnTo>
                          <a:pt x="207" y="110"/>
                        </a:lnTo>
                        <a:lnTo>
                          <a:pt x="207" y="112"/>
                        </a:lnTo>
                        <a:lnTo>
                          <a:pt x="208" y="112"/>
                        </a:lnTo>
                        <a:lnTo>
                          <a:pt x="211" y="113"/>
                        </a:lnTo>
                        <a:lnTo>
                          <a:pt x="213" y="115"/>
                        </a:lnTo>
                        <a:lnTo>
                          <a:pt x="213" y="122"/>
                        </a:lnTo>
                        <a:lnTo>
                          <a:pt x="210" y="125"/>
                        </a:lnTo>
                        <a:lnTo>
                          <a:pt x="205" y="125"/>
                        </a:lnTo>
                        <a:lnTo>
                          <a:pt x="205" y="133"/>
                        </a:lnTo>
                        <a:lnTo>
                          <a:pt x="204" y="137"/>
                        </a:lnTo>
                        <a:lnTo>
                          <a:pt x="201" y="140"/>
                        </a:lnTo>
                        <a:lnTo>
                          <a:pt x="195" y="143"/>
                        </a:lnTo>
                        <a:lnTo>
                          <a:pt x="184" y="143"/>
                        </a:lnTo>
                        <a:lnTo>
                          <a:pt x="181" y="152"/>
                        </a:lnTo>
                        <a:lnTo>
                          <a:pt x="165" y="140"/>
                        </a:lnTo>
                        <a:lnTo>
                          <a:pt x="164" y="142"/>
                        </a:lnTo>
                        <a:lnTo>
                          <a:pt x="159" y="142"/>
                        </a:lnTo>
                        <a:lnTo>
                          <a:pt x="156" y="140"/>
                        </a:lnTo>
                        <a:lnTo>
                          <a:pt x="155" y="140"/>
                        </a:lnTo>
                        <a:lnTo>
                          <a:pt x="153" y="139"/>
                        </a:lnTo>
                        <a:lnTo>
                          <a:pt x="150" y="139"/>
                        </a:lnTo>
                        <a:lnTo>
                          <a:pt x="149" y="140"/>
                        </a:lnTo>
                        <a:lnTo>
                          <a:pt x="146" y="142"/>
                        </a:lnTo>
                        <a:lnTo>
                          <a:pt x="144" y="144"/>
                        </a:lnTo>
                        <a:lnTo>
                          <a:pt x="144" y="146"/>
                        </a:lnTo>
                        <a:lnTo>
                          <a:pt x="143" y="147"/>
                        </a:lnTo>
                        <a:lnTo>
                          <a:pt x="143" y="149"/>
                        </a:lnTo>
                        <a:lnTo>
                          <a:pt x="142" y="150"/>
                        </a:lnTo>
                        <a:lnTo>
                          <a:pt x="131" y="150"/>
                        </a:lnTo>
                        <a:lnTo>
                          <a:pt x="127" y="146"/>
                        </a:lnTo>
                        <a:lnTo>
                          <a:pt x="125" y="143"/>
                        </a:lnTo>
                        <a:lnTo>
                          <a:pt x="124" y="142"/>
                        </a:lnTo>
                        <a:lnTo>
                          <a:pt x="124" y="140"/>
                        </a:lnTo>
                        <a:lnTo>
                          <a:pt x="122" y="128"/>
                        </a:lnTo>
                        <a:lnTo>
                          <a:pt x="112" y="134"/>
                        </a:lnTo>
                        <a:lnTo>
                          <a:pt x="94" y="136"/>
                        </a:lnTo>
                        <a:lnTo>
                          <a:pt x="94" y="137"/>
                        </a:lnTo>
                        <a:lnTo>
                          <a:pt x="93" y="139"/>
                        </a:lnTo>
                        <a:lnTo>
                          <a:pt x="91" y="142"/>
                        </a:lnTo>
                        <a:lnTo>
                          <a:pt x="90" y="146"/>
                        </a:lnTo>
                        <a:lnTo>
                          <a:pt x="88" y="149"/>
                        </a:lnTo>
                        <a:lnTo>
                          <a:pt x="88" y="158"/>
                        </a:lnTo>
                        <a:lnTo>
                          <a:pt x="91" y="167"/>
                        </a:lnTo>
                        <a:lnTo>
                          <a:pt x="91" y="174"/>
                        </a:lnTo>
                        <a:lnTo>
                          <a:pt x="90" y="176"/>
                        </a:lnTo>
                        <a:lnTo>
                          <a:pt x="87" y="176"/>
                        </a:lnTo>
                        <a:lnTo>
                          <a:pt x="85" y="177"/>
                        </a:lnTo>
                        <a:lnTo>
                          <a:pt x="85" y="179"/>
                        </a:lnTo>
                        <a:lnTo>
                          <a:pt x="84" y="195"/>
                        </a:lnTo>
                        <a:lnTo>
                          <a:pt x="76" y="201"/>
                        </a:lnTo>
                        <a:lnTo>
                          <a:pt x="51" y="199"/>
                        </a:lnTo>
                        <a:lnTo>
                          <a:pt x="45" y="193"/>
                        </a:lnTo>
                        <a:lnTo>
                          <a:pt x="39" y="190"/>
                        </a:lnTo>
                        <a:lnTo>
                          <a:pt x="36" y="190"/>
                        </a:lnTo>
                        <a:lnTo>
                          <a:pt x="32" y="189"/>
                        </a:lnTo>
                        <a:lnTo>
                          <a:pt x="29" y="189"/>
                        </a:lnTo>
                        <a:lnTo>
                          <a:pt x="29" y="179"/>
                        </a:lnTo>
                        <a:lnTo>
                          <a:pt x="28" y="164"/>
                        </a:lnTo>
                        <a:lnTo>
                          <a:pt x="16" y="164"/>
                        </a:lnTo>
                        <a:lnTo>
                          <a:pt x="13" y="162"/>
                        </a:lnTo>
                        <a:lnTo>
                          <a:pt x="10" y="156"/>
                        </a:lnTo>
                        <a:lnTo>
                          <a:pt x="7" y="152"/>
                        </a:lnTo>
                        <a:lnTo>
                          <a:pt x="7" y="149"/>
                        </a:lnTo>
                        <a:lnTo>
                          <a:pt x="8" y="144"/>
                        </a:lnTo>
                        <a:lnTo>
                          <a:pt x="8" y="140"/>
                        </a:lnTo>
                        <a:lnTo>
                          <a:pt x="10" y="136"/>
                        </a:lnTo>
                        <a:lnTo>
                          <a:pt x="10" y="133"/>
                        </a:lnTo>
                        <a:lnTo>
                          <a:pt x="0" y="113"/>
                        </a:lnTo>
                        <a:lnTo>
                          <a:pt x="4" y="105"/>
                        </a:lnTo>
                        <a:lnTo>
                          <a:pt x="25" y="105"/>
                        </a:lnTo>
                        <a:lnTo>
                          <a:pt x="34" y="103"/>
                        </a:lnTo>
                        <a:lnTo>
                          <a:pt x="36" y="102"/>
                        </a:lnTo>
                        <a:lnTo>
                          <a:pt x="41" y="100"/>
                        </a:lnTo>
                        <a:lnTo>
                          <a:pt x="48" y="93"/>
                        </a:lnTo>
                        <a:lnTo>
                          <a:pt x="48" y="90"/>
                        </a:lnTo>
                        <a:lnTo>
                          <a:pt x="47" y="87"/>
                        </a:lnTo>
                        <a:lnTo>
                          <a:pt x="44" y="85"/>
                        </a:lnTo>
                        <a:lnTo>
                          <a:pt x="44" y="82"/>
                        </a:lnTo>
                        <a:lnTo>
                          <a:pt x="45" y="81"/>
                        </a:lnTo>
                        <a:lnTo>
                          <a:pt x="47" y="78"/>
                        </a:lnTo>
                        <a:lnTo>
                          <a:pt x="48" y="76"/>
                        </a:lnTo>
                        <a:lnTo>
                          <a:pt x="50" y="74"/>
                        </a:lnTo>
                        <a:lnTo>
                          <a:pt x="38" y="60"/>
                        </a:lnTo>
                        <a:lnTo>
                          <a:pt x="48" y="51"/>
                        </a:lnTo>
                        <a:lnTo>
                          <a:pt x="62" y="51"/>
                        </a:lnTo>
                        <a:lnTo>
                          <a:pt x="62" y="50"/>
                        </a:lnTo>
                        <a:lnTo>
                          <a:pt x="65" y="47"/>
                        </a:lnTo>
                        <a:lnTo>
                          <a:pt x="66" y="47"/>
                        </a:lnTo>
                        <a:lnTo>
                          <a:pt x="69" y="48"/>
                        </a:lnTo>
                        <a:lnTo>
                          <a:pt x="73" y="48"/>
                        </a:lnTo>
                        <a:lnTo>
                          <a:pt x="75" y="50"/>
                        </a:lnTo>
                        <a:lnTo>
                          <a:pt x="76" y="50"/>
                        </a:lnTo>
                        <a:lnTo>
                          <a:pt x="76" y="47"/>
                        </a:lnTo>
                        <a:lnTo>
                          <a:pt x="78" y="42"/>
                        </a:lnTo>
                        <a:lnTo>
                          <a:pt x="78" y="41"/>
                        </a:lnTo>
                        <a:lnTo>
                          <a:pt x="79" y="39"/>
                        </a:lnTo>
                        <a:lnTo>
                          <a:pt x="81" y="41"/>
                        </a:lnTo>
                        <a:lnTo>
                          <a:pt x="87" y="44"/>
                        </a:lnTo>
                        <a:lnTo>
                          <a:pt x="96" y="44"/>
                        </a:lnTo>
                        <a:lnTo>
                          <a:pt x="96" y="41"/>
                        </a:lnTo>
                        <a:lnTo>
                          <a:pt x="94" y="39"/>
                        </a:lnTo>
                        <a:lnTo>
                          <a:pt x="93" y="37"/>
                        </a:lnTo>
                        <a:lnTo>
                          <a:pt x="91" y="32"/>
                        </a:lnTo>
                        <a:lnTo>
                          <a:pt x="88" y="26"/>
                        </a:lnTo>
                        <a:lnTo>
                          <a:pt x="88" y="22"/>
                        </a:lnTo>
                        <a:lnTo>
                          <a:pt x="90" y="22"/>
                        </a:lnTo>
                        <a:lnTo>
                          <a:pt x="93" y="20"/>
                        </a:lnTo>
                        <a:lnTo>
                          <a:pt x="94" y="19"/>
                        </a:lnTo>
                        <a:lnTo>
                          <a:pt x="97" y="17"/>
                        </a:lnTo>
                        <a:lnTo>
                          <a:pt x="99" y="16"/>
                        </a:lnTo>
                        <a:lnTo>
                          <a:pt x="99" y="14"/>
                        </a:lnTo>
                        <a:lnTo>
                          <a:pt x="97" y="13"/>
                        </a:lnTo>
                        <a:lnTo>
                          <a:pt x="96" y="10"/>
                        </a:lnTo>
                        <a:lnTo>
                          <a:pt x="96" y="8"/>
                        </a:lnTo>
                        <a:lnTo>
                          <a:pt x="94" y="5"/>
                        </a:lnTo>
                        <a:lnTo>
                          <a:pt x="94" y="4"/>
                        </a:lnTo>
                        <a:lnTo>
                          <a:pt x="107" y="4"/>
                        </a:lnTo>
                        <a:lnTo>
                          <a:pt x="112" y="8"/>
                        </a:lnTo>
                        <a:lnTo>
                          <a:pt x="113" y="8"/>
                        </a:lnTo>
                        <a:lnTo>
                          <a:pt x="118" y="4"/>
                        </a:lnTo>
                        <a:lnTo>
                          <a:pt x="121" y="3"/>
                        </a:lnTo>
                        <a:lnTo>
                          <a:pt x="122" y="1"/>
                        </a:lnTo>
                        <a:lnTo>
                          <a:pt x="127" y="1"/>
                        </a:lnTo>
                        <a:lnTo>
                          <a:pt x="127" y="4"/>
                        </a:lnTo>
                        <a:lnTo>
                          <a:pt x="128" y="5"/>
                        </a:lnTo>
                        <a:lnTo>
                          <a:pt x="128" y="7"/>
                        </a:lnTo>
                        <a:lnTo>
                          <a:pt x="133" y="7"/>
                        </a:lnTo>
                        <a:lnTo>
                          <a:pt x="134" y="5"/>
                        </a:lnTo>
                        <a:lnTo>
                          <a:pt x="137" y="5"/>
                        </a:lnTo>
                        <a:lnTo>
                          <a:pt x="137"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7" name="Freeform 297" descr="© INSCALE GmbH, 21.06.2010"/>
                  <p:cNvSpPr>
                    <a:spLocks noChangeAspect="1"/>
                  </p:cNvSpPr>
                  <p:nvPr/>
                </p:nvSpPr>
                <p:spPr bwMode="auto">
                  <a:xfrm>
                    <a:off x="3158469" y="4217517"/>
                    <a:ext cx="313502" cy="226110"/>
                  </a:xfrm>
                  <a:custGeom>
                    <a:avLst/>
                    <a:gdLst>
                      <a:gd name="T0" fmla="*/ 2147483646 w 329"/>
                      <a:gd name="T1" fmla="*/ 2147483646 h 236"/>
                      <a:gd name="T2" fmla="*/ 2147483646 w 329"/>
                      <a:gd name="T3" fmla="*/ 2147483646 h 236"/>
                      <a:gd name="T4" fmla="*/ 2147483646 w 329"/>
                      <a:gd name="T5" fmla="*/ 2147483646 h 236"/>
                      <a:gd name="T6" fmla="*/ 2147483646 w 329"/>
                      <a:gd name="T7" fmla="*/ 2147483646 h 236"/>
                      <a:gd name="T8" fmla="*/ 2147483646 w 329"/>
                      <a:gd name="T9" fmla="*/ 2147483646 h 236"/>
                      <a:gd name="T10" fmla="*/ 2147483646 w 329"/>
                      <a:gd name="T11" fmla="*/ 2147483646 h 236"/>
                      <a:gd name="T12" fmla="*/ 2147483646 w 329"/>
                      <a:gd name="T13" fmla="*/ 2147483646 h 236"/>
                      <a:gd name="T14" fmla="*/ 2147483646 w 329"/>
                      <a:gd name="T15" fmla="*/ 2147483646 h 236"/>
                      <a:gd name="T16" fmla="*/ 2147483646 w 329"/>
                      <a:gd name="T17" fmla="*/ 2147483646 h 236"/>
                      <a:gd name="T18" fmla="*/ 2147483646 w 329"/>
                      <a:gd name="T19" fmla="*/ 2147483646 h 236"/>
                      <a:gd name="T20" fmla="*/ 2147483646 w 329"/>
                      <a:gd name="T21" fmla="*/ 2147483646 h 236"/>
                      <a:gd name="T22" fmla="*/ 2147483646 w 329"/>
                      <a:gd name="T23" fmla="*/ 2147483646 h 236"/>
                      <a:gd name="T24" fmla="*/ 2147483646 w 329"/>
                      <a:gd name="T25" fmla="*/ 2147483646 h 236"/>
                      <a:gd name="T26" fmla="*/ 2147483646 w 329"/>
                      <a:gd name="T27" fmla="*/ 2147483646 h 236"/>
                      <a:gd name="T28" fmla="*/ 2147483646 w 329"/>
                      <a:gd name="T29" fmla="*/ 2147483646 h 236"/>
                      <a:gd name="T30" fmla="*/ 2147483646 w 329"/>
                      <a:gd name="T31" fmla="*/ 2147483646 h 236"/>
                      <a:gd name="T32" fmla="*/ 2147483646 w 329"/>
                      <a:gd name="T33" fmla="*/ 2147483646 h 236"/>
                      <a:gd name="T34" fmla="*/ 2147483646 w 329"/>
                      <a:gd name="T35" fmla="*/ 2147483646 h 236"/>
                      <a:gd name="T36" fmla="*/ 2147483646 w 329"/>
                      <a:gd name="T37" fmla="*/ 2147483646 h 236"/>
                      <a:gd name="T38" fmla="*/ 2147483646 w 329"/>
                      <a:gd name="T39" fmla="*/ 2147483646 h 236"/>
                      <a:gd name="T40" fmla="*/ 2147483646 w 329"/>
                      <a:gd name="T41" fmla="*/ 2147483646 h 236"/>
                      <a:gd name="T42" fmla="*/ 2147483646 w 329"/>
                      <a:gd name="T43" fmla="*/ 2147483646 h 236"/>
                      <a:gd name="T44" fmla="*/ 2147483646 w 329"/>
                      <a:gd name="T45" fmla="*/ 2147483646 h 236"/>
                      <a:gd name="T46" fmla="*/ 2147483646 w 329"/>
                      <a:gd name="T47" fmla="*/ 2147483646 h 236"/>
                      <a:gd name="T48" fmla="*/ 2147483646 w 329"/>
                      <a:gd name="T49" fmla="*/ 2147483646 h 236"/>
                      <a:gd name="T50" fmla="*/ 2147483646 w 329"/>
                      <a:gd name="T51" fmla="*/ 2147483646 h 236"/>
                      <a:gd name="T52" fmla="*/ 2147483646 w 329"/>
                      <a:gd name="T53" fmla="*/ 2147483646 h 236"/>
                      <a:gd name="T54" fmla="*/ 2147483646 w 329"/>
                      <a:gd name="T55" fmla="*/ 2147483646 h 236"/>
                      <a:gd name="T56" fmla="*/ 2147483646 w 329"/>
                      <a:gd name="T57" fmla="*/ 2147483646 h 236"/>
                      <a:gd name="T58" fmla="*/ 2147483646 w 329"/>
                      <a:gd name="T59" fmla="*/ 2147483646 h 236"/>
                      <a:gd name="T60" fmla="*/ 2147483646 w 329"/>
                      <a:gd name="T61" fmla="*/ 2147483646 h 236"/>
                      <a:gd name="T62" fmla="*/ 2147483646 w 329"/>
                      <a:gd name="T63" fmla="*/ 2147483646 h 236"/>
                      <a:gd name="T64" fmla="*/ 2147483646 w 329"/>
                      <a:gd name="T65" fmla="*/ 2147483646 h 236"/>
                      <a:gd name="T66" fmla="*/ 2147483646 w 329"/>
                      <a:gd name="T67" fmla="*/ 2147483646 h 236"/>
                      <a:gd name="T68" fmla="*/ 2147483646 w 329"/>
                      <a:gd name="T69" fmla="*/ 2147483646 h 236"/>
                      <a:gd name="T70" fmla="*/ 2147483646 w 329"/>
                      <a:gd name="T71" fmla="*/ 2147483646 h 236"/>
                      <a:gd name="T72" fmla="*/ 2147483646 w 329"/>
                      <a:gd name="T73" fmla="*/ 2147483646 h 236"/>
                      <a:gd name="T74" fmla="*/ 2147483646 w 329"/>
                      <a:gd name="T75" fmla="*/ 2147483646 h 236"/>
                      <a:gd name="T76" fmla="*/ 2147483646 w 329"/>
                      <a:gd name="T77" fmla="*/ 2147483646 h 236"/>
                      <a:gd name="T78" fmla="*/ 2147483646 w 329"/>
                      <a:gd name="T79" fmla="*/ 2147483646 h 236"/>
                      <a:gd name="T80" fmla="*/ 2147483646 w 329"/>
                      <a:gd name="T81" fmla="*/ 2147483646 h 236"/>
                      <a:gd name="T82" fmla="*/ 2147483646 w 329"/>
                      <a:gd name="T83" fmla="*/ 2147483646 h 236"/>
                      <a:gd name="T84" fmla="*/ 2147483646 w 329"/>
                      <a:gd name="T85" fmla="*/ 2147483646 h 236"/>
                      <a:gd name="T86" fmla="*/ 2147483646 w 329"/>
                      <a:gd name="T87" fmla="*/ 2147483646 h 236"/>
                      <a:gd name="T88" fmla="*/ 2147483646 w 329"/>
                      <a:gd name="T89" fmla="*/ 2147483646 h 236"/>
                      <a:gd name="T90" fmla="*/ 2147483646 w 329"/>
                      <a:gd name="T91" fmla="*/ 2147483646 h 236"/>
                      <a:gd name="T92" fmla="*/ 2147483646 w 329"/>
                      <a:gd name="T93" fmla="*/ 2147483646 h 236"/>
                      <a:gd name="T94" fmla="*/ 2147483646 w 329"/>
                      <a:gd name="T95" fmla="*/ 2147483646 h 236"/>
                      <a:gd name="T96" fmla="*/ 2147483646 w 329"/>
                      <a:gd name="T97" fmla="*/ 2147483646 h 236"/>
                      <a:gd name="T98" fmla="*/ 2147483646 w 329"/>
                      <a:gd name="T99" fmla="*/ 2147483646 h 236"/>
                      <a:gd name="T100" fmla="*/ 2147483646 w 329"/>
                      <a:gd name="T101" fmla="*/ 2147483646 h 236"/>
                      <a:gd name="T102" fmla="*/ 2147483646 w 329"/>
                      <a:gd name="T103" fmla="*/ 2147483646 h 236"/>
                      <a:gd name="T104" fmla="*/ 2147483646 w 329"/>
                      <a:gd name="T105" fmla="*/ 2147483646 h 236"/>
                      <a:gd name="T106" fmla="*/ 2147483646 w 329"/>
                      <a:gd name="T107" fmla="*/ 2147483646 h 236"/>
                      <a:gd name="T108" fmla="*/ 2147483646 w 329"/>
                      <a:gd name="T109" fmla="*/ 2147483646 h 236"/>
                      <a:gd name="T110" fmla="*/ 2147483646 w 329"/>
                      <a:gd name="T111" fmla="*/ 2147483646 h 236"/>
                      <a:gd name="T112" fmla="*/ 2147483646 w 329"/>
                      <a:gd name="T113" fmla="*/ 2147483646 h 236"/>
                      <a:gd name="T114" fmla="*/ 2147483646 w 329"/>
                      <a:gd name="T115" fmla="*/ 2147483646 h 236"/>
                      <a:gd name="T116" fmla="*/ 2147483646 w 329"/>
                      <a:gd name="T117" fmla="*/ 2147483646 h 236"/>
                      <a:gd name="T118" fmla="*/ 2147483646 w 329"/>
                      <a:gd name="T119" fmla="*/ 2147483646 h 236"/>
                      <a:gd name="T120" fmla="*/ 2147483646 w 329"/>
                      <a:gd name="T121" fmla="*/ 2147483646 h 236"/>
                      <a:gd name="T122" fmla="*/ 2147483646 w 329"/>
                      <a:gd name="T123" fmla="*/ 2147483646 h 236"/>
                      <a:gd name="T124" fmla="*/ 2147483646 w 329"/>
                      <a:gd name="T125" fmla="*/ 2147483646 h 2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9"/>
                      <a:gd name="T190" fmla="*/ 0 h 236"/>
                      <a:gd name="T191" fmla="*/ 329 w 329"/>
                      <a:gd name="T192" fmla="*/ 236 h 2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9" h="236">
                        <a:moveTo>
                          <a:pt x="221" y="0"/>
                        </a:moveTo>
                        <a:lnTo>
                          <a:pt x="238" y="3"/>
                        </a:lnTo>
                        <a:lnTo>
                          <a:pt x="247" y="12"/>
                        </a:lnTo>
                        <a:lnTo>
                          <a:pt x="249" y="15"/>
                        </a:lnTo>
                        <a:lnTo>
                          <a:pt x="249" y="20"/>
                        </a:lnTo>
                        <a:lnTo>
                          <a:pt x="250" y="24"/>
                        </a:lnTo>
                        <a:lnTo>
                          <a:pt x="249" y="30"/>
                        </a:lnTo>
                        <a:lnTo>
                          <a:pt x="247" y="34"/>
                        </a:lnTo>
                        <a:lnTo>
                          <a:pt x="247" y="39"/>
                        </a:lnTo>
                        <a:lnTo>
                          <a:pt x="246" y="42"/>
                        </a:lnTo>
                        <a:lnTo>
                          <a:pt x="246" y="45"/>
                        </a:lnTo>
                        <a:lnTo>
                          <a:pt x="247" y="45"/>
                        </a:lnTo>
                        <a:lnTo>
                          <a:pt x="249" y="46"/>
                        </a:lnTo>
                        <a:lnTo>
                          <a:pt x="255" y="49"/>
                        </a:lnTo>
                        <a:lnTo>
                          <a:pt x="256" y="51"/>
                        </a:lnTo>
                        <a:lnTo>
                          <a:pt x="258" y="54"/>
                        </a:lnTo>
                        <a:lnTo>
                          <a:pt x="262" y="58"/>
                        </a:lnTo>
                        <a:lnTo>
                          <a:pt x="264" y="61"/>
                        </a:lnTo>
                        <a:lnTo>
                          <a:pt x="265" y="63"/>
                        </a:lnTo>
                        <a:lnTo>
                          <a:pt x="267" y="66"/>
                        </a:lnTo>
                        <a:lnTo>
                          <a:pt x="268" y="67"/>
                        </a:lnTo>
                        <a:lnTo>
                          <a:pt x="268" y="71"/>
                        </a:lnTo>
                        <a:lnTo>
                          <a:pt x="272" y="76"/>
                        </a:lnTo>
                        <a:lnTo>
                          <a:pt x="274" y="76"/>
                        </a:lnTo>
                        <a:lnTo>
                          <a:pt x="283" y="71"/>
                        </a:lnTo>
                        <a:lnTo>
                          <a:pt x="284" y="70"/>
                        </a:lnTo>
                        <a:lnTo>
                          <a:pt x="287" y="68"/>
                        </a:lnTo>
                        <a:lnTo>
                          <a:pt x="289" y="70"/>
                        </a:lnTo>
                        <a:lnTo>
                          <a:pt x="290" y="73"/>
                        </a:lnTo>
                        <a:lnTo>
                          <a:pt x="295" y="77"/>
                        </a:lnTo>
                        <a:lnTo>
                          <a:pt x="298" y="77"/>
                        </a:lnTo>
                        <a:lnTo>
                          <a:pt x="301" y="76"/>
                        </a:lnTo>
                        <a:lnTo>
                          <a:pt x="308" y="82"/>
                        </a:lnTo>
                        <a:lnTo>
                          <a:pt x="317" y="74"/>
                        </a:lnTo>
                        <a:lnTo>
                          <a:pt x="323" y="83"/>
                        </a:lnTo>
                        <a:lnTo>
                          <a:pt x="323" y="85"/>
                        </a:lnTo>
                        <a:lnTo>
                          <a:pt x="324" y="86"/>
                        </a:lnTo>
                        <a:lnTo>
                          <a:pt x="327" y="92"/>
                        </a:lnTo>
                        <a:lnTo>
                          <a:pt x="329" y="97"/>
                        </a:lnTo>
                        <a:lnTo>
                          <a:pt x="329" y="101"/>
                        </a:lnTo>
                        <a:lnTo>
                          <a:pt x="326" y="104"/>
                        </a:lnTo>
                        <a:lnTo>
                          <a:pt x="318" y="104"/>
                        </a:lnTo>
                        <a:lnTo>
                          <a:pt x="318" y="108"/>
                        </a:lnTo>
                        <a:lnTo>
                          <a:pt x="320" y="111"/>
                        </a:lnTo>
                        <a:lnTo>
                          <a:pt x="312" y="111"/>
                        </a:lnTo>
                        <a:lnTo>
                          <a:pt x="308" y="113"/>
                        </a:lnTo>
                        <a:lnTo>
                          <a:pt x="305" y="113"/>
                        </a:lnTo>
                        <a:lnTo>
                          <a:pt x="301" y="114"/>
                        </a:lnTo>
                        <a:lnTo>
                          <a:pt x="295" y="120"/>
                        </a:lnTo>
                        <a:lnTo>
                          <a:pt x="292" y="126"/>
                        </a:lnTo>
                        <a:lnTo>
                          <a:pt x="292" y="129"/>
                        </a:lnTo>
                        <a:lnTo>
                          <a:pt x="290" y="131"/>
                        </a:lnTo>
                        <a:lnTo>
                          <a:pt x="290" y="132"/>
                        </a:lnTo>
                        <a:lnTo>
                          <a:pt x="289" y="132"/>
                        </a:lnTo>
                        <a:lnTo>
                          <a:pt x="287" y="131"/>
                        </a:lnTo>
                        <a:lnTo>
                          <a:pt x="278" y="126"/>
                        </a:lnTo>
                        <a:lnTo>
                          <a:pt x="277" y="126"/>
                        </a:lnTo>
                        <a:lnTo>
                          <a:pt x="275" y="128"/>
                        </a:lnTo>
                        <a:lnTo>
                          <a:pt x="272" y="129"/>
                        </a:lnTo>
                        <a:lnTo>
                          <a:pt x="264" y="135"/>
                        </a:lnTo>
                        <a:lnTo>
                          <a:pt x="262" y="135"/>
                        </a:lnTo>
                        <a:lnTo>
                          <a:pt x="259" y="137"/>
                        </a:lnTo>
                        <a:lnTo>
                          <a:pt x="258" y="138"/>
                        </a:lnTo>
                        <a:lnTo>
                          <a:pt x="255" y="139"/>
                        </a:lnTo>
                        <a:lnTo>
                          <a:pt x="253" y="141"/>
                        </a:lnTo>
                        <a:lnTo>
                          <a:pt x="250" y="141"/>
                        </a:lnTo>
                        <a:lnTo>
                          <a:pt x="249" y="142"/>
                        </a:lnTo>
                        <a:lnTo>
                          <a:pt x="237" y="142"/>
                        </a:lnTo>
                        <a:lnTo>
                          <a:pt x="233" y="147"/>
                        </a:lnTo>
                        <a:lnTo>
                          <a:pt x="230" y="147"/>
                        </a:lnTo>
                        <a:lnTo>
                          <a:pt x="227" y="145"/>
                        </a:lnTo>
                        <a:lnTo>
                          <a:pt x="222" y="141"/>
                        </a:lnTo>
                        <a:lnTo>
                          <a:pt x="218" y="141"/>
                        </a:lnTo>
                        <a:lnTo>
                          <a:pt x="215" y="142"/>
                        </a:lnTo>
                        <a:lnTo>
                          <a:pt x="204" y="142"/>
                        </a:lnTo>
                        <a:lnTo>
                          <a:pt x="204" y="145"/>
                        </a:lnTo>
                        <a:lnTo>
                          <a:pt x="203" y="147"/>
                        </a:lnTo>
                        <a:lnTo>
                          <a:pt x="203" y="150"/>
                        </a:lnTo>
                        <a:lnTo>
                          <a:pt x="201" y="151"/>
                        </a:lnTo>
                        <a:lnTo>
                          <a:pt x="201" y="159"/>
                        </a:lnTo>
                        <a:lnTo>
                          <a:pt x="203" y="162"/>
                        </a:lnTo>
                        <a:lnTo>
                          <a:pt x="203" y="166"/>
                        </a:lnTo>
                        <a:lnTo>
                          <a:pt x="201" y="168"/>
                        </a:lnTo>
                        <a:lnTo>
                          <a:pt x="200" y="171"/>
                        </a:lnTo>
                        <a:lnTo>
                          <a:pt x="197" y="173"/>
                        </a:lnTo>
                        <a:lnTo>
                          <a:pt x="197" y="182"/>
                        </a:lnTo>
                        <a:lnTo>
                          <a:pt x="196" y="184"/>
                        </a:lnTo>
                        <a:lnTo>
                          <a:pt x="187" y="188"/>
                        </a:lnTo>
                        <a:lnTo>
                          <a:pt x="176" y="193"/>
                        </a:lnTo>
                        <a:lnTo>
                          <a:pt x="167" y="196"/>
                        </a:lnTo>
                        <a:lnTo>
                          <a:pt x="157" y="197"/>
                        </a:lnTo>
                        <a:lnTo>
                          <a:pt x="147" y="197"/>
                        </a:lnTo>
                        <a:lnTo>
                          <a:pt x="144" y="196"/>
                        </a:lnTo>
                        <a:lnTo>
                          <a:pt x="142" y="196"/>
                        </a:lnTo>
                        <a:lnTo>
                          <a:pt x="142" y="190"/>
                        </a:lnTo>
                        <a:lnTo>
                          <a:pt x="141" y="187"/>
                        </a:lnTo>
                        <a:lnTo>
                          <a:pt x="141" y="184"/>
                        </a:lnTo>
                        <a:lnTo>
                          <a:pt x="139" y="182"/>
                        </a:lnTo>
                        <a:lnTo>
                          <a:pt x="133" y="168"/>
                        </a:lnTo>
                        <a:lnTo>
                          <a:pt x="125" y="148"/>
                        </a:lnTo>
                        <a:lnTo>
                          <a:pt x="136" y="142"/>
                        </a:lnTo>
                        <a:lnTo>
                          <a:pt x="136" y="134"/>
                        </a:lnTo>
                        <a:lnTo>
                          <a:pt x="142" y="129"/>
                        </a:lnTo>
                        <a:lnTo>
                          <a:pt x="142" y="126"/>
                        </a:lnTo>
                        <a:lnTo>
                          <a:pt x="141" y="125"/>
                        </a:lnTo>
                        <a:lnTo>
                          <a:pt x="139" y="122"/>
                        </a:lnTo>
                        <a:lnTo>
                          <a:pt x="136" y="120"/>
                        </a:lnTo>
                        <a:lnTo>
                          <a:pt x="132" y="119"/>
                        </a:lnTo>
                        <a:lnTo>
                          <a:pt x="128" y="119"/>
                        </a:lnTo>
                        <a:lnTo>
                          <a:pt x="123" y="117"/>
                        </a:lnTo>
                        <a:lnTo>
                          <a:pt x="120" y="114"/>
                        </a:lnTo>
                        <a:lnTo>
                          <a:pt x="119" y="111"/>
                        </a:lnTo>
                        <a:lnTo>
                          <a:pt x="116" y="108"/>
                        </a:lnTo>
                        <a:lnTo>
                          <a:pt x="116" y="107"/>
                        </a:lnTo>
                        <a:lnTo>
                          <a:pt x="113" y="104"/>
                        </a:lnTo>
                        <a:lnTo>
                          <a:pt x="108" y="104"/>
                        </a:lnTo>
                        <a:lnTo>
                          <a:pt x="107" y="105"/>
                        </a:lnTo>
                        <a:lnTo>
                          <a:pt x="101" y="108"/>
                        </a:lnTo>
                        <a:lnTo>
                          <a:pt x="99" y="110"/>
                        </a:lnTo>
                        <a:lnTo>
                          <a:pt x="95" y="105"/>
                        </a:lnTo>
                        <a:lnTo>
                          <a:pt x="89" y="105"/>
                        </a:lnTo>
                        <a:lnTo>
                          <a:pt x="83" y="108"/>
                        </a:lnTo>
                        <a:lnTo>
                          <a:pt x="80" y="111"/>
                        </a:lnTo>
                        <a:lnTo>
                          <a:pt x="77" y="113"/>
                        </a:lnTo>
                        <a:lnTo>
                          <a:pt x="76" y="114"/>
                        </a:lnTo>
                        <a:lnTo>
                          <a:pt x="74" y="117"/>
                        </a:lnTo>
                        <a:lnTo>
                          <a:pt x="74" y="119"/>
                        </a:lnTo>
                        <a:lnTo>
                          <a:pt x="73" y="123"/>
                        </a:lnTo>
                        <a:lnTo>
                          <a:pt x="71" y="126"/>
                        </a:lnTo>
                        <a:lnTo>
                          <a:pt x="71" y="132"/>
                        </a:lnTo>
                        <a:lnTo>
                          <a:pt x="73" y="137"/>
                        </a:lnTo>
                        <a:lnTo>
                          <a:pt x="74" y="138"/>
                        </a:lnTo>
                        <a:lnTo>
                          <a:pt x="74" y="141"/>
                        </a:lnTo>
                        <a:lnTo>
                          <a:pt x="68" y="147"/>
                        </a:lnTo>
                        <a:lnTo>
                          <a:pt x="70" y="150"/>
                        </a:lnTo>
                        <a:lnTo>
                          <a:pt x="73" y="151"/>
                        </a:lnTo>
                        <a:lnTo>
                          <a:pt x="74" y="154"/>
                        </a:lnTo>
                        <a:lnTo>
                          <a:pt x="74" y="157"/>
                        </a:lnTo>
                        <a:lnTo>
                          <a:pt x="70" y="162"/>
                        </a:lnTo>
                        <a:lnTo>
                          <a:pt x="74" y="166"/>
                        </a:lnTo>
                        <a:lnTo>
                          <a:pt x="74" y="169"/>
                        </a:lnTo>
                        <a:lnTo>
                          <a:pt x="71" y="171"/>
                        </a:lnTo>
                        <a:lnTo>
                          <a:pt x="68" y="173"/>
                        </a:lnTo>
                        <a:lnTo>
                          <a:pt x="68" y="178"/>
                        </a:lnTo>
                        <a:lnTo>
                          <a:pt x="79" y="191"/>
                        </a:lnTo>
                        <a:lnTo>
                          <a:pt x="83" y="191"/>
                        </a:lnTo>
                        <a:lnTo>
                          <a:pt x="92" y="182"/>
                        </a:lnTo>
                        <a:lnTo>
                          <a:pt x="93" y="179"/>
                        </a:lnTo>
                        <a:lnTo>
                          <a:pt x="98" y="175"/>
                        </a:lnTo>
                        <a:lnTo>
                          <a:pt x="104" y="175"/>
                        </a:lnTo>
                        <a:lnTo>
                          <a:pt x="107" y="178"/>
                        </a:lnTo>
                        <a:lnTo>
                          <a:pt x="107" y="179"/>
                        </a:lnTo>
                        <a:lnTo>
                          <a:pt x="108" y="182"/>
                        </a:lnTo>
                        <a:lnTo>
                          <a:pt x="110" y="182"/>
                        </a:lnTo>
                        <a:lnTo>
                          <a:pt x="111" y="181"/>
                        </a:lnTo>
                        <a:lnTo>
                          <a:pt x="114" y="179"/>
                        </a:lnTo>
                        <a:lnTo>
                          <a:pt x="122" y="179"/>
                        </a:lnTo>
                        <a:lnTo>
                          <a:pt x="126" y="181"/>
                        </a:lnTo>
                        <a:lnTo>
                          <a:pt x="128" y="181"/>
                        </a:lnTo>
                        <a:lnTo>
                          <a:pt x="130" y="182"/>
                        </a:lnTo>
                        <a:lnTo>
                          <a:pt x="130" y="185"/>
                        </a:lnTo>
                        <a:lnTo>
                          <a:pt x="132" y="188"/>
                        </a:lnTo>
                        <a:lnTo>
                          <a:pt x="132" y="194"/>
                        </a:lnTo>
                        <a:lnTo>
                          <a:pt x="130" y="197"/>
                        </a:lnTo>
                        <a:lnTo>
                          <a:pt x="125" y="203"/>
                        </a:lnTo>
                        <a:lnTo>
                          <a:pt x="122" y="205"/>
                        </a:lnTo>
                        <a:lnTo>
                          <a:pt x="117" y="205"/>
                        </a:lnTo>
                        <a:lnTo>
                          <a:pt x="116" y="203"/>
                        </a:lnTo>
                        <a:lnTo>
                          <a:pt x="116" y="205"/>
                        </a:lnTo>
                        <a:lnTo>
                          <a:pt x="113" y="207"/>
                        </a:lnTo>
                        <a:lnTo>
                          <a:pt x="113" y="209"/>
                        </a:lnTo>
                        <a:lnTo>
                          <a:pt x="111" y="210"/>
                        </a:lnTo>
                        <a:lnTo>
                          <a:pt x="108" y="209"/>
                        </a:lnTo>
                        <a:lnTo>
                          <a:pt x="107" y="207"/>
                        </a:lnTo>
                        <a:lnTo>
                          <a:pt x="105" y="205"/>
                        </a:lnTo>
                        <a:lnTo>
                          <a:pt x="102" y="203"/>
                        </a:lnTo>
                        <a:lnTo>
                          <a:pt x="98" y="207"/>
                        </a:lnTo>
                        <a:lnTo>
                          <a:pt x="98" y="210"/>
                        </a:lnTo>
                        <a:lnTo>
                          <a:pt x="96" y="215"/>
                        </a:lnTo>
                        <a:lnTo>
                          <a:pt x="95" y="216"/>
                        </a:lnTo>
                        <a:lnTo>
                          <a:pt x="92" y="218"/>
                        </a:lnTo>
                        <a:lnTo>
                          <a:pt x="91" y="218"/>
                        </a:lnTo>
                        <a:lnTo>
                          <a:pt x="89" y="216"/>
                        </a:lnTo>
                        <a:lnTo>
                          <a:pt x="86" y="215"/>
                        </a:lnTo>
                        <a:lnTo>
                          <a:pt x="85" y="212"/>
                        </a:lnTo>
                        <a:lnTo>
                          <a:pt x="82" y="210"/>
                        </a:lnTo>
                        <a:lnTo>
                          <a:pt x="77" y="206"/>
                        </a:lnTo>
                        <a:lnTo>
                          <a:pt x="54" y="230"/>
                        </a:lnTo>
                        <a:lnTo>
                          <a:pt x="46" y="230"/>
                        </a:lnTo>
                        <a:lnTo>
                          <a:pt x="43" y="233"/>
                        </a:lnTo>
                        <a:lnTo>
                          <a:pt x="43" y="234"/>
                        </a:lnTo>
                        <a:lnTo>
                          <a:pt x="42" y="236"/>
                        </a:lnTo>
                        <a:lnTo>
                          <a:pt x="39" y="236"/>
                        </a:lnTo>
                        <a:lnTo>
                          <a:pt x="36" y="234"/>
                        </a:lnTo>
                        <a:lnTo>
                          <a:pt x="34" y="231"/>
                        </a:lnTo>
                        <a:lnTo>
                          <a:pt x="22" y="234"/>
                        </a:lnTo>
                        <a:lnTo>
                          <a:pt x="24" y="231"/>
                        </a:lnTo>
                        <a:lnTo>
                          <a:pt x="24" y="230"/>
                        </a:lnTo>
                        <a:lnTo>
                          <a:pt x="25" y="227"/>
                        </a:lnTo>
                        <a:lnTo>
                          <a:pt x="25" y="225"/>
                        </a:lnTo>
                        <a:lnTo>
                          <a:pt x="24" y="224"/>
                        </a:lnTo>
                        <a:lnTo>
                          <a:pt x="21" y="222"/>
                        </a:lnTo>
                        <a:lnTo>
                          <a:pt x="15" y="228"/>
                        </a:lnTo>
                        <a:lnTo>
                          <a:pt x="14" y="228"/>
                        </a:lnTo>
                        <a:lnTo>
                          <a:pt x="12" y="227"/>
                        </a:lnTo>
                        <a:lnTo>
                          <a:pt x="9" y="221"/>
                        </a:lnTo>
                        <a:lnTo>
                          <a:pt x="9" y="212"/>
                        </a:lnTo>
                        <a:lnTo>
                          <a:pt x="11" y="210"/>
                        </a:lnTo>
                        <a:lnTo>
                          <a:pt x="11" y="209"/>
                        </a:lnTo>
                        <a:lnTo>
                          <a:pt x="17" y="209"/>
                        </a:lnTo>
                        <a:lnTo>
                          <a:pt x="20" y="206"/>
                        </a:lnTo>
                        <a:lnTo>
                          <a:pt x="20" y="205"/>
                        </a:lnTo>
                        <a:lnTo>
                          <a:pt x="18" y="205"/>
                        </a:lnTo>
                        <a:lnTo>
                          <a:pt x="17" y="203"/>
                        </a:lnTo>
                        <a:lnTo>
                          <a:pt x="17" y="202"/>
                        </a:lnTo>
                        <a:lnTo>
                          <a:pt x="18" y="200"/>
                        </a:lnTo>
                        <a:lnTo>
                          <a:pt x="20" y="197"/>
                        </a:lnTo>
                        <a:lnTo>
                          <a:pt x="20" y="196"/>
                        </a:lnTo>
                        <a:lnTo>
                          <a:pt x="21" y="194"/>
                        </a:lnTo>
                        <a:lnTo>
                          <a:pt x="21" y="191"/>
                        </a:lnTo>
                        <a:lnTo>
                          <a:pt x="20" y="190"/>
                        </a:lnTo>
                        <a:lnTo>
                          <a:pt x="11" y="187"/>
                        </a:lnTo>
                        <a:lnTo>
                          <a:pt x="6" y="187"/>
                        </a:lnTo>
                        <a:lnTo>
                          <a:pt x="6" y="184"/>
                        </a:lnTo>
                        <a:lnTo>
                          <a:pt x="5" y="182"/>
                        </a:lnTo>
                        <a:lnTo>
                          <a:pt x="2" y="176"/>
                        </a:lnTo>
                        <a:lnTo>
                          <a:pt x="2" y="172"/>
                        </a:lnTo>
                        <a:lnTo>
                          <a:pt x="3" y="169"/>
                        </a:lnTo>
                        <a:lnTo>
                          <a:pt x="3" y="168"/>
                        </a:lnTo>
                        <a:lnTo>
                          <a:pt x="5" y="165"/>
                        </a:lnTo>
                        <a:lnTo>
                          <a:pt x="5" y="162"/>
                        </a:lnTo>
                        <a:lnTo>
                          <a:pt x="6" y="157"/>
                        </a:lnTo>
                        <a:lnTo>
                          <a:pt x="8" y="156"/>
                        </a:lnTo>
                        <a:lnTo>
                          <a:pt x="8" y="154"/>
                        </a:lnTo>
                        <a:lnTo>
                          <a:pt x="6" y="154"/>
                        </a:lnTo>
                        <a:lnTo>
                          <a:pt x="3" y="153"/>
                        </a:lnTo>
                        <a:lnTo>
                          <a:pt x="2" y="153"/>
                        </a:lnTo>
                        <a:lnTo>
                          <a:pt x="0" y="151"/>
                        </a:lnTo>
                        <a:lnTo>
                          <a:pt x="2" y="150"/>
                        </a:lnTo>
                        <a:lnTo>
                          <a:pt x="3" y="147"/>
                        </a:lnTo>
                        <a:lnTo>
                          <a:pt x="6" y="144"/>
                        </a:lnTo>
                        <a:lnTo>
                          <a:pt x="11" y="142"/>
                        </a:lnTo>
                        <a:lnTo>
                          <a:pt x="17" y="139"/>
                        </a:lnTo>
                        <a:lnTo>
                          <a:pt x="18" y="138"/>
                        </a:lnTo>
                        <a:lnTo>
                          <a:pt x="20" y="138"/>
                        </a:lnTo>
                        <a:lnTo>
                          <a:pt x="18" y="137"/>
                        </a:lnTo>
                        <a:lnTo>
                          <a:pt x="17" y="134"/>
                        </a:lnTo>
                        <a:lnTo>
                          <a:pt x="20" y="131"/>
                        </a:lnTo>
                        <a:lnTo>
                          <a:pt x="21" y="128"/>
                        </a:lnTo>
                        <a:lnTo>
                          <a:pt x="24" y="126"/>
                        </a:lnTo>
                        <a:lnTo>
                          <a:pt x="20" y="117"/>
                        </a:lnTo>
                        <a:lnTo>
                          <a:pt x="11" y="119"/>
                        </a:lnTo>
                        <a:lnTo>
                          <a:pt x="11" y="117"/>
                        </a:lnTo>
                        <a:lnTo>
                          <a:pt x="9" y="116"/>
                        </a:lnTo>
                        <a:lnTo>
                          <a:pt x="6" y="110"/>
                        </a:lnTo>
                        <a:lnTo>
                          <a:pt x="6" y="95"/>
                        </a:lnTo>
                        <a:lnTo>
                          <a:pt x="9" y="92"/>
                        </a:lnTo>
                        <a:lnTo>
                          <a:pt x="12" y="91"/>
                        </a:lnTo>
                        <a:lnTo>
                          <a:pt x="20" y="88"/>
                        </a:lnTo>
                        <a:lnTo>
                          <a:pt x="28" y="85"/>
                        </a:lnTo>
                        <a:lnTo>
                          <a:pt x="34" y="83"/>
                        </a:lnTo>
                        <a:lnTo>
                          <a:pt x="43" y="83"/>
                        </a:lnTo>
                        <a:lnTo>
                          <a:pt x="49" y="85"/>
                        </a:lnTo>
                        <a:lnTo>
                          <a:pt x="54" y="86"/>
                        </a:lnTo>
                        <a:lnTo>
                          <a:pt x="57" y="88"/>
                        </a:lnTo>
                        <a:lnTo>
                          <a:pt x="58" y="89"/>
                        </a:lnTo>
                        <a:lnTo>
                          <a:pt x="65" y="89"/>
                        </a:lnTo>
                        <a:lnTo>
                          <a:pt x="68" y="88"/>
                        </a:lnTo>
                        <a:lnTo>
                          <a:pt x="71" y="88"/>
                        </a:lnTo>
                        <a:lnTo>
                          <a:pt x="73" y="86"/>
                        </a:lnTo>
                        <a:lnTo>
                          <a:pt x="73" y="74"/>
                        </a:lnTo>
                        <a:lnTo>
                          <a:pt x="70" y="73"/>
                        </a:lnTo>
                        <a:lnTo>
                          <a:pt x="65" y="71"/>
                        </a:lnTo>
                        <a:lnTo>
                          <a:pt x="61" y="68"/>
                        </a:lnTo>
                        <a:lnTo>
                          <a:pt x="59" y="67"/>
                        </a:lnTo>
                        <a:lnTo>
                          <a:pt x="58" y="67"/>
                        </a:lnTo>
                        <a:lnTo>
                          <a:pt x="57" y="61"/>
                        </a:lnTo>
                        <a:lnTo>
                          <a:pt x="67" y="61"/>
                        </a:lnTo>
                        <a:lnTo>
                          <a:pt x="68" y="60"/>
                        </a:lnTo>
                        <a:lnTo>
                          <a:pt x="74" y="57"/>
                        </a:lnTo>
                        <a:lnTo>
                          <a:pt x="76" y="55"/>
                        </a:lnTo>
                        <a:lnTo>
                          <a:pt x="82" y="55"/>
                        </a:lnTo>
                        <a:lnTo>
                          <a:pt x="83" y="57"/>
                        </a:lnTo>
                        <a:lnTo>
                          <a:pt x="85" y="57"/>
                        </a:lnTo>
                        <a:lnTo>
                          <a:pt x="85" y="67"/>
                        </a:lnTo>
                        <a:lnTo>
                          <a:pt x="96" y="67"/>
                        </a:lnTo>
                        <a:lnTo>
                          <a:pt x="128" y="45"/>
                        </a:lnTo>
                        <a:lnTo>
                          <a:pt x="142" y="40"/>
                        </a:lnTo>
                        <a:lnTo>
                          <a:pt x="142" y="37"/>
                        </a:lnTo>
                        <a:lnTo>
                          <a:pt x="144" y="34"/>
                        </a:lnTo>
                        <a:lnTo>
                          <a:pt x="144" y="32"/>
                        </a:lnTo>
                        <a:lnTo>
                          <a:pt x="147" y="29"/>
                        </a:lnTo>
                        <a:lnTo>
                          <a:pt x="150" y="27"/>
                        </a:lnTo>
                        <a:lnTo>
                          <a:pt x="154" y="23"/>
                        </a:lnTo>
                        <a:lnTo>
                          <a:pt x="157" y="18"/>
                        </a:lnTo>
                        <a:lnTo>
                          <a:pt x="157" y="14"/>
                        </a:lnTo>
                        <a:lnTo>
                          <a:pt x="162" y="11"/>
                        </a:lnTo>
                        <a:lnTo>
                          <a:pt x="170" y="20"/>
                        </a:lnTo>
                        <a:lnTo>
                          <a:pt x="172" y="20"/>
                        </a:lnTo>
                        <a:lnTo>
                          <a:pt x="173" y="21"/>
                        </a:lnTo>
                        <a:lnTo>
                          <a:pt x="176" y="21"/>
                        </a:lnTo>
                        <a:lnTo>
                          <a:pt x="179" y="23"/>
                        </a:lnTo>
                        <a:lnTo>
                          <a:pt x="182" y="23"/>
                        </a:lnTo>
                        <a:lnTo>
                          <a:pt x="188" y="20"/>
                        </a:lnTo>
                        <a:lnTo>
                          <a:pt x="190" y="18"/>
                        </a:lnTo>
                        <a:lnTo>
                          <a:pt x="191" y="18"/>
                        </a:lnTo>
                        <a:lnTo>
                          <a:pt x="194" y="21"/>
                        </a:lnTo>
                        <a:lnTo>
                          <a:pt x="199" y="21"/>
                        </a:lnTo>
                        <a:lnTo>
                          <a:pt x="201" y="20"/>
                        </a:lnTo>
                        <a:lnTo>
                          <a:pt x="203" y="18"/>
                        </a:lnTo>
                        <a:lnTo>
                          <a:pt x="203" y="15"/>
                        </a:lnTo>
                        <a:lnTo>
                          <a:pt x="206" y="9"/>
                        </a:lnTo>
                        <a:lnTo>
                          <a:pt x="207" y="8"/>
                        </a:lnTo>
                        <a:lnTo>
                          <a:pt x="210" y="6"/>
                        </a:lnTo>
                        <a:lnTo>
                          <a:pt x="213" y="6"/>
                        </a:lnTo>
                        <a:lnTo>
                          <a:pt x="216" y="5"/>
                        </a:lnTo>
                        <a:lnTo>
                          <a:pt x="221"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18" name="Freeform 298" descr="© INSCALE GmbH, 21.06.2010"/>
                  <p:cNvSpPr>
                    <a:spLocks noChangeAspect="1"/>
                  </p:cNvSpPr>
                  <p:nvPr/>
                </p:nvSpPr>
                <p:spPr bwMode="auto">
                  <a:xfrm>
                    <a:off x="3531619" y="4107930"/>
                    <a:ext cx="273274" cy="271886"/>
                  </a:xfrm>
                  <a:custGeom>
                    <a:avLst/>
                    <a:gdLst>
                      <a:gd name="T0" fmla="*/ 2147483646 w 285"/>
                      <a:gd name="T1" fmla="*/ 2147483646 h 286"/>
                      <a:gd name="T2" fmla="*/ 2147483646 w 285"/>
                      <a:gd name="T3" fmla="*/ 2147483646 h 286"/>
                      <a:gd name="T4" fmla="*/ 2147483646 w 285"/>
                      <a:gd name="T5" fmla="*/ 2147483646 h 286"/>
                      <a:gd name="T6" fmla="*/ 2147483646 w 285"/>
                      <a:gd name="T7" fmla="*/ 2147483646 h 286"/>
                      <a:gd name="T8" fmla="*/ 2147483646 w 285"/>
                      <a:gd name="T9" fmla="*/ 2147483646 h 286"/>
                      <a:gd name="T10" fmla="*/ 2147483646 w 285"/>
                      <a:gd name="T11" fmla="*/ 2147483646 h 286"/>
                      <a:gd name="T12" fmla="*/ 2147483646 w 285"/>
                      <a:gd name="T13" fmla="*/ 2147483646 h 286"/>
                      <a:gd name="T14" fmla="*/ 2147483646 w 285"/>
                      <a:gd name="T15" fmla="*/ 2147483646 h 286"/>
                      <a:gd name="T16" fmla="*/ 2147483646 w 285"/>
                      <a:gd name="T17" fmla="*/ 2147483646 h 286"/>
                      <a:gd name="T18" fmla="*/ 2147483646 w 285"/>
                      <a:gd name="T19" fmla="*/ 2147483646 h 286"/>
                      <a:gd name="T20" fmla="*/ 2147483646 w 285"/>
                      <a:gd name="T21" fmla="*/ 2147483646 h 286"/>
                      <a:gd name="T22" fmla="*/ 2147483646 w 285"/>
                      <a:gd name="T23" fmla="*/ 2147483646 h 286"/>
                      <a:gd name="T24" fmla="*/ 2147483646 w 285"/>
                      <a:gd name="T25" fmla="*/ 2147483646 h 286"/>
                      <a:gd name="T26" fmla="*/ 2147483646 w 285"/>
                      <a:gd name="T27" fmla="*/ 2147483646 h 286"/>
                      <a:gd name="T28" fmla="*/ 2147483646 w 285"/>
                      <a:gd name="T29" fmla="*/ 2147483646 h 286"/>
                      <a:gd name="T30" fmla="*/ 2147483646 w 285"/>
                      <a:gd name="T31" fmla="*/ 2147483646 h 286"/>
                      <a:gd name="T32" fmla="*/ 2147483646 w 285"/>
                      <a:gd name="T33" fmla="*/ 2147483646 h 286"/>
                      <a:gd name="T34" fmla="*/ 2147483646 w 285"/>
                      <a:gd name="T35" fmla="*/ 2147483646 h 286"/>
                      <a:gd name="T36" fmla="*/ 2147483646 w 285"/>
                      <a:gd name="T37" fmla="*/ 2147483646 h 286"/>
                      <a:gd name="T38" fmla="*/ 2147483646 w 285"/>
                      <a:gd name="T39" fmla="*/ 2147483646 h 286"/>
                      <a:gd name="T40" fmla="*/ 2147483646 w 285"/>
                      <a:gd name="T41" fmla="*/ 2147483646 h 286"/>
                      <a:gd name="T42" fmla="*/ 2147483646 w 285"/>
                      <a:gd name="T43" fmla="*/ 2147483646 h 286"/>
                      <a:gd name="T44" fmla="*/ 2147483646 w 285"/>
                      <a:gd name="T45" fmla="*/ 2147483646 h 286"/>
                      <a:gd name="T46" fmla="*/ 2147483646 w 285"/>
                      <a:gd name="T47" fmla="*/ 2147483646 h 286"/>
                      <a:gd name="T48" fmla="*/ 2147483646 w 285"/>
                      <a:gd name="T49" fmla="*/ 2147483646 h 286"/>
                      <a:gd name="T50" fmla="*/ 2147483646 w 285"/>
                      <a:gd name="T51" fmla="*/ 2147483646 h 286"/>
                      <a:gd name="T52" fmla="*/ 2147483646 w 285"/>
                      <a:gd name="T53" fmla="*/ 2147483646 h 286"/>
                      <a:gd name="T54" fmla="*/ 2147483646 w 285"/>
                      <a:gd name="T55" fmla="*/ 2147483646 h 286"/>
                      <a:gd name="T56" fmla="*/ 2147483646 w 285"/>
                      <a:gd name="T57" fmla="*/ 2147483646 h 286"/>
                      <a:gd name="T58" fmla="*/ 2147483646 w 285"/>
                      <a:gd name="T59" fmla="*/ 2147483646 h 286"/>
                      <a:gd name="T60" fmla="*/ 2147483646 w 285"/>
                      <a:gd name="T61" fmla="*/ 2147483646 h 286"/>
                      <a:gd name="T62" fmla="*/ 0 w 285"/>
                      <a:gd name="T63" fmla="*/ 2147483646 h 286"/>
                      <a:gd name="T64" fmla="*/ 2147483646 w 285"/>
                      <a:gd name="T65" fmla="*/ 2147483646 h 286"/>
                      <a:gd name="T66" fmla="*/ 2147483646 w 285"/>
                      <a:gd name="T67" fmla="*/ 2147483646 h 286"/>
                      <a:gd name="T68" fmla="*/ 2147483646 w 285"/>
                      <a:gd name="T69" fmla="*/ 2147483646 h 286"/>
                      <a:gd name="T70" fmla="*/ 2147483646 w 285"/>
                      <a:gd name="T71" fmla="*/ 2147483646 h 286"/>
                      <a:gd name="T72" fmla="*/ 2147483646 w 285"/>
                      <a:gd name="T73" fmla="*/ 2147483646 h 286"/>
                      <a:gd name="T74" fmla="*/ 2147483646 w 285"/>
                      <a:gd name="T75" fmla="*/ 2147483646 h 286"/>
                      <a:gd name="T76" fmla="*/ 2147483646 w 285"/>
                      <a:gd name="T77" fmla="*/ 2147483646 h 286"/>
                      <a:gd name="T78" fmla="*/ 2147483646 w 285"/>
                      <a:gd name="T79" fmla="*/ 2147483646 h 286"/>
                      <a:gd name="T80" fmla="*/ 2147483646 w 285"/>
                      <a:gd name="T81" fmla="*/ 2147483646 h 286"/>
                      <a:gd name="T82" fmla="*/ 2147483646 w 285"/>
                      <a:gd name="T83" fmla="*/ 2147483646 h 286"/>
                      <a:gd name="T84" fmla="*/ 2147483646 w 285"/>
                      <a:gd name="T85" fmla="*/ 2147483646 h 286"/>
                      <a:gd name="T86" fmla="*/ 2147483646 w 285"/>
                      <a:gd name="T87" fmla="*/ 2147483646 h 286"/>
                      <a:gd name="T88" fmla="*/ 2147483646 w 285"/>
                      <a:gd name="T89" fmla="*/ 2147483646 h 286"/>
                      <a:gd name="T90" fmla="*/ 2147483646 w 285"/>
                      <a:gd name="T91" fmla="*/ 2147483646 h 286"/>
                      <a:gd name="T92" fmla="*/ 2147483646 w 285"/>
                      <a:gd name="T93" fmla="*/ 2147483646 h 286"/>
                      <a:gd name="T94" fmla="*/ 2147483646 w 285"/>
                      <a:gd name="T95" fmla="*/ 2147483646 h 286"/>
                      <a:gd name="T96" fmla="*/ 2147483646 w 285"/>
                      <a:gd name="T97" fmla="*/ 2147483646 h 2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5"/>
                      <a:gd name="T148" fmla="*/ 0 h 286"/>
                      <a:gd name="T149" fmla="*/ 285 w 285"/>
                      <a:gd name="T150" fmla="*/ 286 h 28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5" h="286">
                        <a:moveTo>
                          <a:pt x="254" y="0"/>
                        </a:moveTo>
                        <a:lnTo>
                          <a:pt x="260" y="0"/>
                        </a:lnTo>
                        <a:lnTo>
                          <a:pt x="262" y="6"/>
                        </a:lnTo>
                        <a:lnTo>
                          <a:pt x="276" y="18"/>
                        </a:lnTo>
                        <a:lnTo>
                          <a:pt x="285" y="28"/>
                        </a:lnTo>
                        <a:lnTo>
                          <a:pt x="285" y="33"/>
                        </a:lnTo>
                        <a:lnTo>
                          <a:pt x="284" y="33"/>
                        </a:lnTo>
                        <a:lnTo>
                          <a:pt x="282" y="31"/>
                        </a:lnTo>
                        <a:lnTo>
                          <a:pt x="275" y="31"/>
                        </a:lnTo>
                        <a:lnTo>
                          <a:pt x="266" y="42"/>
                        </a:lnTo>
                        <a:lnTo>
                          <a:pt x="275" y="53"/>
                        </a:lnTo>
                        <a:lnTo>
                          <a:pt x="274" y="55"/>
                        </a:lnTo>
                        <a:lnTo>
                          <a:pt x="271" y="61"/>
                        </a:lnTo>
                        <a:lnTo>
                          <a:pt x="269" y="62"/>
                        </a:lnTo>
                        <a:lnTo>
                          <a:pt x="268" y="65"/>
                        </a:lnTo>
                        <a:lnTo>
                          <a:pt x="268" y="70"/>
                        </a:lnTo>
                        <a:lnTo>
                          <a:pt x="269" y="71"/>
                        </a:lnTo>
                        <a:lnTo>
                          <a:pt x="272" y="70"/>
                        </a:lnTo>
                        <a:lnTo>
                          <a:pt x="274" y="68"/>
                        </a:lnTo>
                        <a:lnTo>
                          <a:pt x="275" y="68"/>
                        </a:lnTo>
                        <a:lnTo>
                          <a:pt x="275" y="70"/>
                        </a:lnTo>
                        <a:lnTo>
                          <a:pt x="276" y="71"/>
                        </a:lnTo>
                        <a:lnTo>
                          <a:pt x="276" y="74"/>
                        </a:lnTo>
                        <a:lnTo>
                          <a:pt x="278" y="76"/>
                        </a:lnTo>
                        <a:lnTo>
                          <a:pt x="278" y="80"/>
                        </a:lnTo>
                        <a:lnTo>
                          <a:pt x="276" y="83"/>
                        </a:lnTo>
                        <a:lnTo>
                          <a:pt x="271" y="89"/>
                        </a:lnTo>
                        <a:lnTo>
                          <a:pt x="268" y="90"/>
                        </a:lnTo>
                        <a:lnTo>
                          <a:pt x="265" y="93"/>
                        </a:lnTo>
                        <a:lnTo>
                          <a:pt x="265" y="96"/>
                        </a:lnTo>
                        <a:lnTo>
                          <a:pt x="263" y="99"/>
                        </a:lnTo>
                        <a:lnTo>
                          <a:pt x="254" y="108"/>
                        </a:lnTo>
                        <a:lnTo>
                          <a:pt x="254" y="113"/>
                        </a:lnTo>
                        <a:lnTo>
                          <a:pt x="251" y="113"/>
                        </a:lnTo>
                        <a:lnTo>
                          <a:pt x="250" y="114"/>
                        </a:lnTo>
                        <a:lnTo>
                          <a:pt x="248" y="124"/>
                        </a:lnTo>
                        <a:lnTo>
                          <a:pt x="244" y="129"/>
                        </a:lnTo>
                        <a:lnTo>
                          <a:pt x="244" y="144"/>
                        </a:lnTo>
                        <a:lnTo>
                          <a:pt x="237" y="144"/>
                        </a:lnTo>
                        <a:lnTo>
                          <a:pt x="220" y="158"/>
                        </a:lnTo>
                        <a:lnTo>
                          <a:pt x="220" y="161"/>
                        </a:lnTo>
                        <a:lnTo>
                          <a:pt x="219" y="164"/>
                        </a:lnTo>
                        <a:lnTo>
                          <a:pt x="219" y="167"/>
                        </a:lnTo>
                        <a:lnTo>
                          <a:pt x="216" y="170"/>
                        </a:lnTo>
                        <a:lnTo>
                          <a:pt x="211" y="170"/>
                        </a:lnTo>
                        <a:lnTo>
                          <a:pt x="211" y="175"/>
                        </a:lnTo>
                        <a:lnTo>
                          <a:pt x="210" y="176"/>
                        </a:lnTo>
                        <a:lnTo>
                          <a:pt x="210" y="178"/>
                        </a:lnTo>
                        <a:lnTo>
                          <a:pt x="207" y="178"/>
                        </a:lnTo>
                        <a:lnTo>
                          <a:pt x="205" y="176"/>
                        </a:lnTo>
                        <a:lnTo>
                          <a:pt x="204" y="176"/>
                        </a:lnTo>
                        <a:lnTo>
                          <a:pt x="198" y="179"/>
                        </a:lnTo>
                        <a:lnTo>
                          <a:pt x="194" y="179"/>
                        </a:lnTo>
                        <a:lnTo>
                          <a:pt x="194" y="176"/>
                        </a:lnTo>
                        <a:lnTo>
                          <a:pt x="191" y="178"/>
                        </a:lnTo>
                        <a:lnTo>
                          <a:pt x="188" y="175"/>
                        </a:lnTo>
                        <a:lnTo>
                          <a:pt x="183" y="166"/>
                        </a:lnTo>
                        <a:lnTo>
                          <a:pt x="182" y="164"/>
                        </a:lnTo>
                        <a:lnTo>
                          <a:pt x="177" y="164"/>
                        </a:lnTo>
                        <a:lnTo>
                          <a:pt x="174" y="166"/>
                        </a:lnTo>
                        <a:lnTo>
                          <a:pt x="171" y="166"/>
                        </a:lnTo>
                        <a:lnTo>
                          <a:pt x="146" y="191"/>
                        </a:lnTo>
                        <a:lnTo>
                          <a:pt x="146" y="192"/>
                        </a:lnTo>
                        <a:lnTo>
                          <a:pt x="137" y="201"/>
                        </a:lnTo>
                        <a:lnTo>
                          <a:pt x="136" y="204"/>
                        </a:lnTo>
                        <a:lnTo>
                          <a:pt x="130" y="210"/>
                        </a:lnTo>
                        <a:lnTo>
                          <a:pt x="127" y="212"/>
                        </a:lnTo>
                        <a:lnTo>
                          <a:pt x="120" y="219"/>
                        </a:lnTo>
                        <a:lnTo>
                          <a:pt x="117" y="220"/>
                        </a:lnTo>
                        <a:lnTo>
                          <a:pt x="117" y="226"/>
                        </a:lnTo>
                        <a:lnTo>
                          <a:pt x="120" y="229"/>
                        </a:lnTo>
                        <a:lnTo>
                          <a:pt x="120" y="237"/>
                        </a:lnTo>
                        <a:lnTo>
                          <a:pt x="123" y="243"/>
                        </a:lnTo>
                        <a:lnTo>
                          <a:pt x="124" y="243"/>
                        </a:lnTo>
                        <a:lnTo>
                          <a:pt x="124" y="244"/>
                        </a:lnTo>
                        <a:lnTo>
                          <a:pt x="126" y="246"/>
                        </a:lnTo>
                        <a:lnTo>
                          <a:pt x="129" y="252"/>
                        </a:lnTo>
                        <a:lnTo>
                          <a:pt x="129" y="257"/>
                        </a:lnTo>
                        <a:lnTo>
                          <a:pt x="126" y="263"/>
                        </a:lnTo>
                        <a:lnTo>
                          <a:pt x="124" y="268"/>
                        </a:lnTo>
                        <a:lnTo>
                          <a:pt x="123" y="271"/>
                        </a:lnTo>
                        <a:lnTo>
                          <a:pt x="123" y="274"/>
                        </a:lnTo>
                        <a:lnTo>
                          <a:pt x="121" y="275"/>
                        </a:lnTo>
                        <a:lnTo>
                          <a:pt x="121" y="277"/>
                        </a:lnTo>
                        <a:lnTo>
                          <a:pt x="120" y="278"/>
                        </a:lnTo>
                        <a:lnTo>
                          <a:pt x="120" y="280"/>
                        </a:lnTo>
                        <a:lnTo>
                          <a:pt x="114" y="280"/>
                        </a:lnTo>
                        <a:lnTo>
                          <a:pt x="111" y="283"/>
                        </a:lnTo>
                        <a:lnTo>
                          <a:pt x="109" y="283"/>
                        </a:lnTo>
                        <a:lnTo>
                          <a:pt x="109" y="286"/>
                        </a:lnTo>
                        <a:lnTo>
                          <a:pt x="102" y="284"/>
                        </a:lnTo>
                        <a:lnTo>
                          <a:pt x="96" y="283"/>
                        </a:lnTo>
                        <a:lnTo>
                          <a:pt x="96" y="280"/>
                        </a:lnTo>
                        <a:lnTo>
                          <a:pt x="95" y="277"/>
                        </a:lnTo>
                        <a:lnTo>
                          <a:pt x="95" y="275"/>
                        </a:lnTo>
                        <a:lnTo>
                          <a:pt x="93" y="272"/>
                        </a:lnTo>
                        <a:lnTo>
                          <a:pt x="89" y="277"/>
                        </a:lnTo>
                        <a:lnTo>
                          <a:pt x="81" y="277"/>
                        </a:lnTo>
                        <a:lnTo>
                          <a:pt x="81" y="259"/>
                        </a:lnTo>
                        <a:lnTo>
                          <a:pt x="80" y="257"/>
                        </a:lnTo>
                        <a:lnTo>
                          <a:pt x="78" y="254"/>
                        </a:lnTo>
                        <a:lnTo>
                          <a:pt x="75" y="252"/>
                        </a:lnTo>
                        <a:lnTo>
                          <a:pt x="74" y="249"/>
                        </a:lnTo>
                        <a:lnTo>
                          <a:pt x="71" y="246"/>
                        </a:lnTo>
                        <a:lnTo>
                          <a:pt x="69" y="246"/>
                        </a:lnTo>
                        <a:lnTo>
                          <a:pt x="69" y="244"/>
                        </a:lnTo>
                        <a:lnTo>
                          <a:pt x="63" y="238"/>
                        </a:lnTo>
                        <a:lnTo>
                          <a:pt x="59" y="235"/>
                        </a:lnTo>
                        <a:lnTo>
                          <a:pt x="53" y="226"/>
                        </a:lnTo>
                        <a:lnTo>
                          <a:pt x="53" y="215"/>
                        </a:lnTo>
                        <a:lnTo>
                          <a:pt x="56" y="200"/>
                        </a:lnTo>
                        <a:lnTo>
                          <a:pt x="56" y="194"/>
                        </a:lnTo>
                        <a:lnTo>
                          <a:pt x="55" y="192"/>
                        </a:lnTo>
                        <a:lnTo>
                          <a:pt x="52" y="186"/>
                        </a:lnTo>
                        <a:lnTo>
                          <a:pt x="50" y="185"/>
                        </a:lnTo>
                        <a:lnTo>
                          <a:pt x="49" y="182"/>
                        </a:lnTo>
                        <a:lnTo>
                          <a:pt x="46" y="182"/>
                        </a:lnTo>
                        <a:lnTo>
                          <a:pt x="44" y="183"/>
                        </a:lnTo>
                        <a:lnTo>
                          <a:pt x="35" y="183"/>
                        </a:lnTo>
                        <a:lnTo>
                          <a:pt x="32" y="182"/>
                        </a:lnTo>
                        <a:lnTo>
                          <a:pt x="29" y="182"/>
                        </a:lnTo>
                        <a:lnTo>
                          <a:pt x="26" y="176"/>
                        </a:lnTo>
                        <a:lnTo>
                          <a:pt x="25" y="172"/>
                        </a:lnTo>
                        <a:lnTo>
                          <a:pt x="19" y="166"/>
                        </a:lnTo>
                        <a:lnTo>
                          <a:pt x="16" y="164"/>
                        </a:lnTo>
                        <a:lnTo>
                          <a:pt x="7" y="161"/>
                        </a:lnTo>
                        <a:lnTo>
                          <a:pt x="4" y="160"/>
                        </a:lnTo>
                        <a:lnTo>
                          <a:pt x="0" y="160"/>
                        </a:lnTo>
                        <a:lnTo>
                          <a:pt x="0" y="152"/>
                        </a:lnTo>
                        <a:lnTo>
                          <a:pt x="1" y="148"/>
                        </a:lnTo>
                        <a:lnTo>
                          <a:pt x="3" y="145"/>
                        </a:lnTo>
                        <a:lnTo>
                          <a:pt x="4" y="141"/>
                        </a:lnTo>
                        <a:lnTo>
                          <a:pt x="4" y="133"/>
                        </a:lnTo>
                        <a:lnTo>
                          <a:pt x="29" y="135"/>
                        </a:lnTo>
                        <a:lnTo>
                          <a:pt x="37" y="129"/>
                        </a:lnTo>
                        <a:lnTo>
                          <a:pt x="38" y="113"/>
                        </a:lnTo>
                        <a:lnTo>
                          <a:pt x="38" y="111"/>
                        </a:lnTo>
                        <a:lnTo>
                          <a:pt x="40" y="110"/>
                        </a:lnTo>
                        <a:lnTo>
                          <a:pt x="43" y="110"/>
                        </a:lnTo>
                        <a:lnTo>
                          <a:pt x="44" y="108"/>
                        </a:lnTo>
                        <a:lnTo>
                          <a:pt x="44" y="101"/>
                        </a:lnTo>
                        <a:lnTo>
                          <a:pt x="41" y="92"/>
                        </a:lnTo>
                        <a:lnTo>
                          <a:pt x="41" y="83"/>
                        </a:lnTo>
                        <a:lnTo>
                          <a:pt x="43" y="80"/>
                        </a:lnTo>
                        <a:lnTo>
                          <a:pt x="44" y="76"/>
                        </a:lnTo>
                        <a:lnTo>
                          <a:pt x="46" y="73"/>
                        </a:lnTo>
                        <a:lnTo>
                          <a:pt x="47" y="71"/>
                        </a:lnTo>
                        <a:lnTo>
                          <a:pt x="47" y="70"/>
                        </a:lnTo>
                        <a:lnTo>
                          <a:pt x="65" y="68"/>
                        </a:lnTo>
                        <a:lnTo>
                          <a:pt x="75" y="62"/>
                        </a:lnTo>
                        <a:lnTo>
                          <a:pt x="77" y="74"/>
                        </a:lnTo>
                        <a:lnTo>
                          <a:pt x="77" y="76"/>
                        </a:lnTo>
                        <a:lnTo>
                          <a:pt x="78" y="77"/>
                        </a:lnTo>
                        <a:lnTo>
                          <a:pt x="80" y="80"/>
                        </a:lnTo>
                        <a:lnTo>
                          <a:pt x="84" y="84"/>
                        </a:lnTo>
                        <a:lnTo>
                          <a:pt x="95" y="84"/>
                        </a:lnTo>
                        <a:lnTo>
                          <a:pt x="96" y="83"/>
                        </a:lnTo>
                        <a:lnTo>
                          <a:pt x="96" y="81"/>
                        </a:lnTo>
                        <a:lnTo>
                          <a:pt x="97" y="80"/>
                        </a:lnTo>
                        <a:lnTo>
                          <a:pt x="97" y="78"/>
                        </a:lnTo>
                        <a:lnTo>
                          <a:pt x="99" y="76"/>
                        </a:lnTo>
                        <a:lnTo>
                          <a:pt x="102" y="74"/>
                        </a:lnTo>
                        <a:lnTo>
                          <a:pt x="103" y="73"/>
                        </a:lnTo>
                        <a:lnTo>
                          <a:pt x="106" y="73"/>
                        </a:lnTo>
                        <a:lnTo>
                          <a:pt x="108" y="74"/>
                        </a:lnTo>
                        <a:lnTo>
                          <a:pt x="109" y="74"/>
                        </a:lnTo>
                        <a:lnTo>
                          <a:pt x="112" y="76"/>
                        </a:lnTo>
                        <a:lnTo>
                          <a:pt x="117" y="76"/>
                        </a:lnTo>
                        <a:lnTo>
                          <a:pt x="118" y="74"/>
                        </a:lnTo>
                        <a:lnTo>
                          <a:pt x="134" y="86"/>
                        </a:lnTo>
                        <a:lnTo>
                          <a:pt x="137" y="77"/>
                        </a:lnTo>
                        <a:lnTo>
                          <a:pt x="148" y="77"/>
                        </a:lnTo>
                        <a:lnTo>
                          <a:pt x="154" y="74"/>
                        </a:lnTo>
                        <a:lnTo>
                          <a:pt x="157" y="71"/>
                        </a:lnTo>
                        <a:lnTo>
                          <a:pt x="158" y="67"/>
                        </a:lnTo>
                        <a:lnTo>
                          <a:pt x="158" y="59"/>
                        </a:lnTo>
                        <a:lnTo>
                          <a:pt x="163" y="59"/>
                        </a:lnTo>
                        <a:lnTo>
                          <a:pt x="166" y="56"/>
                        </a:lnTo>
                        <a:lnTo>
                          <a:pt x="166" y="49"/>
                        </a:lnTo>
                        <a:lnTo>
                          <a:pt x="164" y="47"/>
                        </a:lnTo>
                        <a:lnTo>
                          <a:pt x="161" y="46"/>
                        </a:lnTo>
                        <a:lnTo>
                          <a:pt x="160" y="46"/>
                        </a:lnTo>
                        <a:lnTo>
                          <a:pt x="160" y="44"/>
                        </a:lnTo>
                        <a:lnTo>
                          <a:pt x="158" y="42"/>
                        </a:lnTo>
                        <a:lnTo>
                          <a:pt x="158" y="39"/>
                        </a:lnTo>
                        <a:lnTo>
                          <a:pt x="157" y="36"/>
                        </a:lnTo>
                        <a:lnTo>
                          <a:pt x="157" y="33"/>
                        </a:lnTo>
                        <a:lnTo>
                          <a:pt x="158" y="30"/>
                        </a:lnTo>
                        <a:lnTo>
                          <a:pt x="161" y="27"/>
                        </a:lnTo>
                        <a:lnTo>
                          <a:pt x="166" y="27"/>
                        </a:lnTo>
                        <a:lnTo>
                          <a:pt x="174" y="28"/>
                        </a:lnTo>
                        <a:lnTo>
                          <a:pt x="185" y="30"/>
                        </a:lnTo>
                        <a:lnTo>
                          <a:pt x="194" y="31"/>
                        </a:lnTo>
                        <a:lnTo>
                          <a:pt x="203" y="31"/>
                        </a:lnTo>
                        <a:lnTo>
                          <a:pt x="211" y="27"/>
                        </a:lnTo>
                        <a:lnTo>
                          <a:pt x="232" y="6"/>
                        </a:lnTo>
                        <a:lnTo>
                          <a:pt x="238" y="2"/>
                        </a:lnTo>
                        <a:lnTo>
                          <a:pt x="244" y="8"/>
                        </a:lnTo>
                        <a:lnTo>
                          <a:pt x="254" y="0"/>
                        </a:lnTo>
                        <a:close/>
                      </a:path>
                    </a:pathLst>
                  </a:custGeom>
                  <a:solidFill>
                    <a:schemeClr val="bg1"/>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DDDDDD">
                          <a:lumMod val="10000"/>
                        </a:srgbClr>
                      </a:solidFill>
                      <a:latin typeface="Calibri"/>
                      <a:ea typeface="MS PGothic" charset="0"/>
                      <a:cs typeface="Latha" panose="020B0604020202020204" pitchFamily="34" charset="0"/>
                    </a:endParaRPr>
                  </a:p>
                </p:txBody>
              </p:sp>
              <p:sp>
                <p:nvSpPr>
                  <p:cNvPr id="119" name="Freeform 299" descr="© INSCALE GmbH, 21.06.2010"/>
                  <p:cNvSpPr>
                    <a:spLocks noChangeAspect="1"/>
                  </p:cNvSpPr>
                  <p:nvPr/>
                </p:nvSpPr>
                <p:spPr bwMode="auto">
                  <a:xfrm>
                    <a:off x="2955941" y="4304909"/>
                    <a:ext cx="227497" cy="263563"/>
                  </a:xfrm>
                  <a:custGeom>
                    <a:avLst/>
                    <a:gdLst>
                      <a:gd name="T0" fmla="*/ 2147483646 w 238"/>
                      <a:gd name="T1" fmla="*/ 2147483646 h 277"/>
                      <a:gd name="T2" fmla="*/ 2147483646 w 238"/>
                      <a:gd name="T3" fmla="*/ 2147483646 h 277"/>
                      <a:gd name="T4" fmla="*/ 2147483646 w 238"/>
                      <a:gd name="T5" fmla="*/ 2147483646 h 277"/>
                      <a:gd name="T6" fmla="*/ 2147483646 w 238"/>
                      <a:gd name="T7" fmla="*/ 2147483646 h 277"/>
                      <a:gd name="T8" fmla="*/ 2147483646 w 238"/>
                      <a:gd name="T9" fmla="*/ 2147483646 h 277"/>
                      <a:gd name="T10" fmla="*/ 2147483646 w 238"/>
                      <a:gd name="T11" fmla="*/ 2147483646 h 277"/>
                      <a:gd name="T12" fmla="*/ 2147483646 w 238"/>
                      <a:gd name="T13" fmla="*/ 2147483646 h 277"/>
                      <a:gd name="T14" fmla="*/ 2147483646 w 238"/>
                      <a:gd name="T15" fmla="*/ 2147483646 h 277"/>
                      <a:gd name="T16" fmla="*/ 2147483646 w 238"/>
                      <a:gd name="T17" fmla="*/ 2147483646 h 277"/>
                      <a:gd name="T18" fmla="*/ 2147483646 w 238"/>
                      <a:gd name="T19" fmla="*/ 2147483646 h 277"/>
                      <a:gd name="T20" fmla="*/ 2147483646 w 238"/>
                      <a:gd name="T21" fmla="*/ 2147483646 h 277"/>
                      <a:gd name="T22" fmla="*/ 2147483646 w 238"/>
                      <a:gd name="T23" fmla="*/ 2147483646 h 277"/>
                      <a:gd name="T24" fmla="*/ 2147483646 w 238"/>
                      <a:gd name="T25" fmla="*/ 2147483646 h 277"/>
                      <a:gd name="T26" fmla="*/ 2147483646 w 238"/>
                      <a:gd name="T27" fmla="*/ 2147483646 h 277"/>
                      <a:gd name="T28" fmla="*/ 2147483646 w 238"/>
                      <a:gd name="T29" fmla="*/ 2147483646 h 277"/>
                      <a:gd name="T30" fmla="*/ 2147483646 w 238"/>
                      <a:gd name="T31" fmla="*/ 2147483646 h 277"/>
                      <a:gd name="T32" fmla="*/ 2147483646 w 238"/>
                      <a:gd name="T33" fmla="*/ 2147483646 h 277"/>
                      <a:gd name="T34" fmla="*/ 2147483646 w 238"/>
                      <a:gd name="T35" fmla="*/ 2147483646 h 277"/>
                      <a:gd name="T36" fmla="*/ 2147483646 w 238"/>
                      <a:gd name="T37" fmla="*/ 2147483646 h 277"/>
                      <a:gd name="T38" fmla="*/ 2147483646 w 238"/>
                      <a:gd name="T39" fmla="*/ 2147483646 h 277"/>
                      <a:gd name="T40" fmla="*/ 2147483646 w 238"/>
                      <a:gd name="T41" fmla="*/ 2147483646 h 277"/>
                      <a:gd name="T42" fmla="*/ 2147483646 w 238"/>
                      <a:gd name="T43" fmla="*/ 2147483646 h 277"/>
                      <a:gd name="T44" fmla="*/ 2147483646 w 238"/>
                      <a:gd name="T45" fmla="*/ 2147483646 h 277"/>
                      <a:gd name="T46" fmla="*/ 2147483646 w 238"/>
                      <a:gd name="T47" fmla="*/ 2147483646 h 277"/>
                      <a:gd name="T48" fmla="*/ 2147483646 w 238"/>
                      <a:gd name="T49" fmla="*/ 2147483646 h 277"/>
                      <a:gd name="T50" fmla="*/ 2147483646 w 238"/>
                      <a:gd name="T51" fmla="*/ 2147483646 h 277"/>
                      <a:gd name="T52" fmla="*/ 2147483646 w 238"/>
                      <a:gd name="T53" fmla="*/ 2147483646 h 277"/>
                      <a:gd name="T54" fmla="*/ 2147483646 w 238"/>
                      <a:gd name="T55" fmla="*/ 2147483646 h 277"/>
                      <a:gd name="T56" fmla="*/ 2147483646 w 238"/>
                      <a:gd name="T57" fmla="*/ 2147483646 h 277"/>
                      <a:gd name="T58" fmla="*/ 2147483646 w 238"/>
                      <a:gd name="T59" fmla="*/ 2147483646 h 277"/>
                      <a:gd name="T60" fmla="*/ 2147483646 w 238"/>
                      <a:gd name="T61" fmla="*/ 2147483646 h 277"/>
                      <a:gd name="T62" fmla="*/ 2147483646 w 238"/>
                      <a:gd name="T63" fmla="*/ 2147483646 h 277"/>
                      <a:gd name="T64" fmla="*/ 2147483646 w 238"/>
                      <a:gd name="T65" fmla="*/ 2147483646 h 277"/>
                      <a:gd name="T66" fmla="*/ 2147483646 w 238"/>
                      <a:gd name="T67" fmla="*/ 2147483646 h 277"/>
                      <a:gd name="T68" fmla="*/ 2147483646 w 238"/>
                      <a:gd name="T69" fmla="*/ 2147483646 h 277"/>
                      <a:gd name="T70" fmla="*/ 2147483646 w 238"/>
                      <a:gd name="T71" fmla="*/ 2147483646 h 277"/>
                      <a:gd name="T72" fmla="*/ 2147483646 w 238"/>
                      <a:gd name="T73" fmla="*/ 2147483646 h 277"/>
                      <a:gd name="T74" fmla="*/ 2147483646 w 238"/>
                      <a:gd name="T75" fmla="*/ 2147483646 h 277"/>
                      <a:gd name="T76" fmla="*/ 2147483646 w 238"/>
                      <a:gd name="T77" fmla="*/ 2147483646 h 277"/>
                      <a:gd name="T78" fmla="*/ 2147483646 w 238"/>
                      <a:gd name="T79" fmla="*/ 2147483646 h 277"/>
                      <a:gd name="T80" fmla="*/ 2147483646 w 238"/>
                      <a:gd name="T81" fmla="*/ 2147483646 h 277"/>
                      <a:gd name="T82" fmla="*/ 2147483646 w 238"/>
                      <a:gd name="T83" fmla="*/ 2147483646 h 277"/>
                      <a:gd name="T84" fmla="*/ 2147483646 w 238"/>
                      <a:gd name="T85" fmla="*/ 2147483646 h 277"/>
                      <a:gd name="T86" fmla="*/ 2147483646 w 238"/>
                      <a:gd name="T87" fmla="*/ 2147483646 h 277"/>
                      <a:gd name="T88" fmla="*/ 2147483646 w 238"/>
                      <a:gd name="T89" fmla="*/ 2147483646 h 277"/>
                      <a:gd name="T90" fmla="*/ 2147483646 w 238"/>
                      <a:gd name="T91" fmla="*/ 2147483646 h 277"/>
                      <a:gd name="T92" fmla="*/ 2147483646 w 238"/>
                      <a:gd name="T93" fmla="*/ 2147483646 h 277"/>
                      <a:gd name="T94" fmla="*/ 2147483646 w 238"/>
                      <a:gd name="T95" fmla="*/ 2147483646 h 277"/>
                      <a:gd name="T96" fmla="*/ 2147483646 w 238"/>
                      <a:gd name="T97" fmla="*/ 2147483646 h 277"/>
                      <a:gd name="T98" fmla="*/ 2147483646 w 238"/>
                      <a:gd name="T99" fmla="*/ 2147483646 h 277"/>
                      <a:gd name="T100" fmla="*/ 2147483646 w 238"/>
                      <a:gd name="T101" fmla="*/ 2147483646 h 277"/>
                      <a:gd name="T102" fmla="*/ 2147483646 w 238"/>
                      <a:gd name="T103" fmla="*/ 2147483646 h 277"/>
                      <a:gd name="T104" fmla="*/ 2147483646 w 238"/>
                      <a:gd name="T105" fmla="*/ 2147483646 h 277"/>
                      <a:gd name="T106" fmla="*/ 2147483646 w 238"/>
                      <a:gd name="T107" fmla="*/ 2147483646 h 277"/>
                      <a:gd name="T108" fmla="*/ 2147483646 w 238"/>
                      <a:gd name="T109" fmla="*/ 2147483646 h 277"/>
                      <a:gd name="T110" fmla="*/ 2147483646 w 238"/>
                      <a:gd name="T111" fmla="*/ 2147483646 h 277"/>
                      <a:gd name="T112" fmla="*/ 2147483646 w 238"/>
                      <a:gd name="T113" fmla="*/ 2147483646 h 277"/>
                      <a:gd name="T114" fmla="*/ 2147483646 w 238"/>
                      <a:gd name="T115" fmla="*/ 2147483646 h 277"/>
                      <a:gd name="T116" fmla="*/ 2147483646 w 238"/>
                      <a:gd name="T117" fmla="*/ 2147483646 h 277"/>
                      <a:gd name="T118" fmla="*/ 2147483646 w 238"/>
                      <a:gd name="T119" fmla="*/ 2147483646 h 277"/>
                      <a:gd name="T120" fmla="*/ 2147483646 w 238"/>
                      <a:gd name="T121" fmla="*/ 2147483646 h 2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8"/>
                      <a:gd name="T184" fmla="*/ 0 h 277"/>
                      <a:gd name="T185" fmla="*/ 238 w 238"/>
                      <a:gd name="T186" fmla="*/ 277 h 27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8" h="277">
                        <a:moveTo>
                          <a:pt x="213" y="0"/>
                        </a:moveTo>
                        <a:lnTo>
                          <a:pt x="216" y="0"/>
                        </a:lnTo>
                        <a:lnTo>
                          <a:pt x="219" y="3"/>
                        </a:lnTo>
                        <a:lnTo>
                          <a:pt x="219" y="18"/>
                        </a:lnTo>
                        <a:lnTo>
                          <a:pt x="222" y="24"/>
                        </a:lnTo>
                        <a:lnTo>
                          <a:pt x="224" y="25"/>
                        </a:lnTo>
                        <a:lnTo>
                          <a:pt x="224" y="27"/>
                        </a:lnTo>
                        <a:lnTo>
                          <a:pt x="233" y="25"/>
                        </a:lnTo>
                        <a:lnTo>
                          <a:pt x="237" y="34"/>
                        </a:lnTo>
                        <a:lnTo>
                          <a:pt x="234" y="36"/>
                        </a:lnTo>
                        <a:lnTo>
                          <a:pt x="233" y="39"/>
                        </a:lnTo>
                        <a:lnTo>
                          <a:pt x="230" y="42"/>
                        </a:lnTo>
                        <a:lnTo>
                          <a:pt x="231" y="45"/>
                        </a:lnTo>
                        <a:lnTo>
                          <a:pt x="233" y="46"/>
                        </a:lnTo>
                        <a:lnTo>
                          <a:pt x="231" y="46"/>
                        </a:lnTo>
                        <a:lnTo>
                          <a:pt x="230" y="47"/>
                        </a:lnTo>
                        <a:lnTo>
                          <a:pt x="224" y="50"/>
                        </a:lnTo>
                        <a:lnTo>
                          <a:pt x="219" y="52"/>
                        </a:lnTo>
                        <a:lnTo>
                          <a:pt x="216" y="55"/>
                        </a:lnTo>
                        <a:lnTo>
                          <a:pt x="215" y="58"/>
                        </a:lnTo>
                        <a:lnTo>
                          <a:pt x="213" y="59"/>
                        </a:lnTo>
                        <a:lnTo>
                          <a:pt x="215" y="61"/>
                        </a:lnTo>
                        <a:lnTo>
                          <a:pt x="216" y="61"/>
                        </a:lnTo>
                        <a:lnTo>
                          <a:pt x="219" y="62"/>
                        </a:lnTo>
                        <a:lnTo>
                          <a:pt x="221" y="62"/>
                        </a:lnTo>
                        <a:lnTo>
                          <a:pt x="221" y="64"/>
                        </a:lnTo>
                        <a:lnTo>
                          <a:pt x="219" y="65"/>
                        </a:lnTo>
                        <a:lnTo>
                          <a:pt x="218" y="70"/>
                        </a:lnTo>
                        <a:lnTo>
                          <a:pt x="218" y="73"/>
                        </a:lnTo>
                        <a:lnTo>
                          <a:pt x="216" y="76"/>
                        </a:lnTo>
                        <a:lnTo>
                          <a:pt x="216" y="77"/>
                        </a:lnTo>
                        <a:lnTo>
                          <a:pt x="215" y="80"/>
                        </a:lnTo>
                        <a:lnTo>
                          <a:pt x="215" y="84"/>
                        </a:lnTo>
                        <a:lnTo>
                          <a:pt x="218" y="90"/>
                        </a:lnTo>
                        <a:lnTo>
                          <a:pt x="219" y="92"/>
                        </a:lnTo>
                        <a:lnTo>
                          <a:pt x="219" y="95"/>
                        </a:lnTo>
                        <a:lnTo>
                          <a:pt x="224" y="95"/>
                        </a:lnTo>
                        <a:lnTo>
                          <a:pt x="233" y="98"/>
                        </a:lnTo>
                        <a:lnTo>
                          <a:pt x="234" y="99"/>
                        </a:lnTo>
                        <a:lnTo>
                          <a:pt x="234" y="102"/>
                        </a:lnTo>
                        <a:lnTo>
                          <a:pt x="233" y="104"/>
                        </a:lnTo>
                        <a:lnTo>
                          <a:pt x="233" y="105"/>
                        </a:lnTo>
                        <a:lnTo>
                          <a:pt x="231" y="108"/>
                        </a:lnTo>
                        <a:lnTo>
                          <a:pt x="230" y="110"/>
                        </a:lnTo>
                        <a:lnTo>
                          <a:pt x="230" y="111"/>
                        </a:lnTo>
                        <a:lnTo>
                          <a:pt x="231" y="113"/>
                        </a:lnTo>
                        <a:lnTo>
                          <a:pt x="233" y="113"/>
                        </a:lnTo>
                        <a:lnTo>
                          <a:pt x="233" y="114"/>
                        </a:lnTo>
                        <a:lnTo>
                          <a:pt x="230" y="117"/>
                        </a:lnTo>
                        <a:lnTo>
                          <a:pt x="224" y="117"/>
                        </a:lnTo>
                        <a:lnTo>
                          <a:pt x="224" y="118"/>
                        </a:lnTo>
                        <a:lnTo>
                          <a:pt x="222" y="120"/>
                        </a:lnTo>
                        <a:lnTo>
                          <a:pt x="222" y="129"/>
                        </a:lnTo>
                        <a:lnTo>
                          <a:pt x="225" y="135"/>
                        </a:lnTo>
                        <a:lnTo>
                          <a:pt x="227" y="136"/>
                        </a:lnTo>
                        <a:lnTo>
                          <a:pt x="228" y="136"/>
                        </a:lnTo>
                        <a:lnTo>
                          <a:pt x="234" y="130"/>
                        </a:lnTo>
                        <a:lnTo>
                          <a:pt x="237" y="132"/>
                        </a:lnTo>
                        <a:lnTo>
                          <a:pt x="238" y="133"/>
                        </a:lnTo>
                        <a:lnTo>
                          <a:pt x="238" y="135"/>
                        </a:lnTo>
                        <a:lnTo>
                          <a:pt x="237" y="138"/>
                        </a:lnTo>
                        <a:lnTo>
                          <a:pt x="237" y="139"/>
                        </a:lnTo>
                        <a:lnTo>
                          <a:pt x="235" y="142"/>
                        </a:lnTo>
                        <a:lnTo>
                          <a:pt x="238" y="154"/>
                        </a:lnTo>
                        <a:lnTo>
                          <a:pt x="237" y="155"/>
                        </a:lnTo>
                        <a:lnTo>
                          <a:pt x="235" y="158"/>
                        </a:lnTo>
                        <a:lnTo>
                          <a:pt x="233" y="160"/>
                        </a:lnTo>
                        <a:lnTo>
                          <a:pt x="219" y="160"/>
                        </a:lnTo>
                        <a:lnTo>
                          <a:pt x="219" y="163"/>
                        </a:lnTo>
                        <a:lnTo>
                          <a:pt x="221" y="166"/>
                        </a:lnTo>
                        <a:lnTo>
                          <a:pt x="221" y="170"/>
                        </a:lnTo>
                        <a:lnTo>
                          <a:pt x="222" y="172"/>
                        </a:lnTo>
                        <a:lnTo>
                          <a:pt x="222" y="176"/>
                        </a:lnTo>
                        <a:lnTo>
                          <a:pt x="227" y="181"/>
                        </a:lnTo>
                        <a:lnTo>
                          <a:pt x="227" y="192"/>
                        </a:lnTo>
                        <a:lnTo>
                          <a:pt x="225" y="195"/>
                        </a:lnTo>
                        <a:lnTo>
                          <a:pt x="222" y="198"/>
                        </a:lnTo>
                        <a:lnTo>
                          <a:pt x="219" y="200"/>
                        </a:lnTo>
                        <a:lnTo>
                          <a:pt x="216" y="203"/>
                        </a:lnTo>
                        <a:lnTo>
                          <a:pt x="210" y="206"/>
                        </a:lnTo>
                        <a:lnTo>
                          <a:pt x="209" y="207"/>
                        </a:lnTo>
                        <a:lnTo>
                          <a:pt x="207" y="206"/>
                        </a:lnTo>
                        <a:lnTo>
                          <a:pt x="204" y="204"/>
                        </a:lnTo>
                        <a:lnTo>
                          <a:pt x="203" y="203"/>
                        </a:lnTo>
                        <a:lnTo>
                          <a:pt x="200" y="201"/>
                        </a:lnTo>
                        <a:lnTo>
                          <a:pt x="198" y="200"/>
                        </a:lnTo>
                        <a:lnTo>
                          <a:pt x="197" y="200"/>
                        </a:lnTo>
                        <a:lnTo>
                          <a:pt x="196" y="198"/>
                        </a:lnTo>
                        <a:lnTo>
                          <a:pt x="193" y="197"/>
                        </a:lnTo>
                        <a:lnTo>
                          <a:pt x="191" y="195"/>
                        </a:lnTo>
                        <a:lnTo>
                          <a:pt x="190" y="192"/>
                        </a:lnTo>
                        <a:lnTo>
                          <a:pt x="190" y="182"/>
                        </a:lnTo>
                        <a:lnTo>
                          <a:pt x="185" y="182"/>
                        </a:lnTo>
                        <a:lnTo>
                          <a:pt x="182" y="185"/>
                        </a:lnTo>
                        <a:lnTo>
                          <a:pt x="179" y="186"/>
                        </a:lnTo>
                        <a:lnTo>
                          <a:pt x="178" y="186"/>
                        </a:lnTo>
                        <a:lnTo>
                          <a:pt x="178" y="220"/>
                        </a:lnTo>
                        <a:lnTo>
                          <a:pt x="181" y="220"/>
                        </a:lnTo>
                        <a:lnTo>
                          <a:pt x="181" y="234"/>
                        </a:lnTo>
                        <a:lnTo>
                          <a:pt x="182" y="246"/>
                        </a:lnTo>
                        <a:lnTo>
                          <a:pt x="182" y="253"/>
                        </a:lnTo>
                        <a:lnTo>
                          <a:pt x="184" y="260"/>
                        </a:lnTo>
                        <a:lnTo>
                          <a:pt x="184" y="262"/>
                        </a:lnTo>
                        <a:lnTo>
                          <a:pt x="182" y="262"/>
                        </a:lnTo>
                        <a:lnTo>
                          <a:pt x="182" y="263"/>
                        </a:lnTo>
                        <a:lnTo>
                          <a:pt x="167" y="263"/>
                        </a:lnTo>
                        <a:lnTo>
                          <a:pt x="167" y="265"/>
                        </a:lnTo>
                        <a:lnTo>
                          <a:pt x="166" y="265"/>
                        </a:lnTo>
                        <a:lnTo>
                          <a:pt x="163" y="266"/>
                        </a:lnTo>
                        <a:lnTo>
                          <a:pt x="159" y="266"/>
                        </a:lnTo>
                        <a:lnTo>
                          <a:pt x="156" y="268"/>
                        </a:lnTo>
                        <a:lnTo>
                          <a:pt x="154" y="269"/>
                        </a:lnTo>
                        <a:lnTo>
                          <a:pt x="153" y="269"/>
                        </a:lnTo>
                        <a:lnTo>
                          <a:pt x="151" y="271"/>
                        </a:lnTo>
                        <a:lnTo>
                          <a:pt x="150" y="274"/>
                        </a:lnTo>
                        <a:lnTo>
                          <a:pt x="147" y="275"/>
                        </a:lnTo>
                        <a:lnTo>
                          <a:pt x="142" y="275"/>
                        </a:lnTo>
                        <a:lnTo>
                          <a:pt x="142" y="274"/>
                        </a:lnTo>
                        <a:lnTo>
                          <a:pt x="141" y="271"/>
                        </a:lnTo>
                        <a:lnTo>
                          <a:pt x="141" y="268"/>
                        </a:lnTo>
                        <a:lnTo>
                          <a:pt x="139" y="266"/>
                        </a:lnTo>
                        <a:lnTo>
                          <a:pt x="138" y="263"/>
                        </a:lnTo>
                        <a:lnTo>
                          <a:pt x="138" y="262"/>
                        </a:lnTo>
                        <a:lnTo>
                          <a:pt x="130" y="254"/>
                        </a:lnTo>
                        <a:lnTo>
                          <a:pt x="127" y="254"/>
                        </a:lnTo>
                        <a:lnTo>
                          <a:pt x="126" y="256"/>
                        </a:lnTo>
                        <a:lnTo>
                          <a:pt x="125" y="259"/>
                        </a:lnTo>
                        <a:lnTo>
                          <a:pt x="125" y="260"/>
                        </a:lnTo>
                        <a:lnTo>
                          <a:pt x="123" y="263"/>
                        </a:lnTo>
                        <a:lnTo>
                          <a:pt x="123" y="268"/>
                        </a:lnTo>
                        <a:lnTo>
                          <a:pt x="120" y="271"/>
                        </a:lnTo>
                        <a:lnTo>
                          <a:pt x="119" y="271"/>
                        </a:lnTo>
                        <a:lnTo>
                          <a:pt x="117" y="269"/>
                        </a:lnTo>
                        <a:lnTo>
                          <a:pt x="113" y="269"/>
                        </a:lnTo>
                        <a:lnTo>
                          <a:pt x="113" y="263"/>
                        </a:lnTo>
                        <a:lnTo>
                          <a:pt x="114" y="259"/>
                        </a:lnTo>
                        <a:lnTo>
                          <a:pt x="114" y="253"/>
                        </a:lnTo>
                        <a:lnTo>
                          <a:pt x="111" y="253"/>
                        </a:lnTo>
                        <a:lnTo>
                          <a:pt x="107" y="249"/>
                        </a:lnTo>
                        <a:lnTo>
                          <a:pt x="104" y="243"/>
                        </a:lnTo>
                        <a:lnTo>
                          <a:pt x="102" y="243"/>
                        </a:lnTo>
                        <a:lnTo>
                          <a:pt x="101" y="244"/>
                        </a:lnTo>
                        <a:lnTo>
                          <a:pt x="98" y="246"/>
                        </a:lnTo>
                        <a:lnTo>
                          <a:pt x="96" y="249"/>
                        </a:lnTo>
                        <a:lnTo>
                          <a:pt x="93" y="250"/>
                        </a:lnTo>
                        <a:lnTo>
                          <a:pt x="90" y="253"/>
                        </a:lnTo>
                        <a:lnTo>
                          <a:pt x="85" y="256"/>
                        </a:lnTo>
                        <a:lnTo>
                          <a:pt x="82" y="256"/>
                        </a:lnTo>
                        <a:lnTo>
                          <a:pt x="80" y="254"/>
                        </a:lnTo>
                        <a:lnTo>
                          <a:pt x="79" y="254"/>
                        </a:lnTo>
                        <a:lnTo>
                          <a:pt x="77" y="253"/>
                        </a:lnTo>
                        <a:lnTo>
                          <a:pt x="76" y="254"/>
                        </a:lnTo>
                        <a:lnTo>
                          <a:pt x="73" y="256"/>
                        </a:lnTo>
                        <a:lnTo>
                          <a:pt x="70" y="259"/>
                        </a:lnTo>
                        <a:lnTo>
                          <a:pt x="61" y="265"/>
                        </a:lnTo>
                        <a:lnTo>
                          <a:pt x="58" y="268"/>
                        </a:lnTo>
                        <a:lnTo>
                          <a:pt x="56" y="271"/>
                        </a:lnTo>
                        <a:lnTo>
                          <a:pt x="55" y="271"/>
                        </a:lnTo>
                        <a:lnTo>
                          <a:pt x="54" y="272"/>
                        </a:lnTo>
                        <a:lnTo>
                          <a:pt x="49" y="272"/>
                        </a:lnTo>
                        <a:lnTo>
                          <a:pt x="48" y="271"/>
                        </a:lnTo>
                        <a:lnTo>
                          <a:pt x="48" y="269"/>
                        </a:lnTo>
                        <a:lnTo>
                          <a:pt x="51" y="263"/>
                        </a:lnTo>
                        <a:lnTo>
                          <a:pt x="51" y="260"/>
                        </a:lnTo>
                        <a:lnTo>
                          <a:pt x="48" y="257"/>
                        </a:lnTo>
                        <a:lnTo>
                          <a:pt x="48" y="254"/>
                        </a:lnTo>
                        <a:lnTo>
                          <a:pt x="46" y="253"/>
                        </a:lnTo>
                        <a:lnTo>
                          <a:pt x="46" y="252"/>
                        </a:lnTo>
                        <a:lnTo>
                          <a:pt x="39" y="252"/>
                        </a:lnTo>
                        <a:lnTo>
                          <a:pt x="36" y="254"/>
                        </a:lnTo>
                        <a:lnTo>
                          <a:pt x="34" y="252"/>
                        </a:lnTo>
                        <a:lnTo>
                          <a:pt x="34" y="250"/>
                        </a:lnTo>
                        <a:lnTo>
                          <a:pt x="33" y="247"/>
                        </a:lnTo>
                        <a:lnTo>
                          <a:pt x="33" y="246"/>
                        </a:lnTo>
                        <a:lnTo>
                          <a:pt x="31" y="243"/>
                        </a:lnTo>
                        <a:lnTo>
                          <a:pt x="31" y="240"/>
                        </a:lnTo>
                        <a:lnTo>
                          <a:pt x="28" y="240"/>
                        </a:lnTo>
                        <a:lnTo>
                          <a:pt x="27" y="241"/>
                        </a:lnTo>
                        <a:lnTo>
                          <a:pt x="22" y="241"/>
                        </a:lnTo>
                        <a:lnTo>
                          <a:pt x="21" y="243"/>
                        </a:lnTo>
                        <a:lnTo>
                          <a:pt x="19" y="243"/>
                        </a:lnTo>
                        <a:lnTo>
                          <a:pt x="18" y="244"/>
                        </a:lnTo>
                        <a:lnTo>
                          <a:pt x="18" y="247"/>
                        </a:lnTo>
                        <a:lnTo>
                          <a:pt x="21" y="250"/>
                        </a:lnTo>
                        <a:lnTo>
                          <a:pt x="25" y="263"/>
                        </a:lnTo>
                        <a:lnTo>
                          <a:pt x="25" y="265"/>
                        </a:lnTo>
                        <a:lnTo>
                          <a:pt x="27" y="265"/>
                        </a:lnTo>
                        <a:lnTo>
                          <a:pt x="27" y="266"/>
                        </a:lnTo>
                        <a:lnTo>
                          <a:pt x="28" y="268"/>
                        </a:lnTo>
                        <a:lnTo>
                          <a:pt x="30" y="271"/>
                        </a:lnTo>
                        <a:lnTo>
                          <a:pt x="30" y="272"/>
                        </a:lnTo>
                        <a:lnTo>
                          <a:pt x="31" y="275"/>
                        </a:lnTo>
                        <a:lnTo>
                          <a:pt x="30" y="277"/>
                        </a:lnTo>
                        <a:lnTo>
                          <a:pt x="24" y="277"/>
                        </a:lnTo>
                        <a:lnTo>
                          <a:pt x="24" y="269"/>
                        </a:lnTo>
                        <a:lnTo>
                          <a:pt x="22" y="269"/>
                        </a:lnTo>
                        <a:lnTo>
                          <a:pt x="21" y="266"/>
                        </a:lnTo>
                        <a:lnTo>
                          <a:pt x="15" y="257"/>
                        </a:lnTo>
                        <a:lnTo>
                          <a:pt x="5" y="247"/>
                        </a:lnTo>
                        <a:lnTo>
                          <a:pt x="5" y="246"/>
                        </a:lnTo>
                        <a:lnTo>
                          <a:pt x="6" y="243"/>
                        </a:lnTo>
                        <a:lnTo>
                          <a:pt x="9" y="240"/>
                        </a:lnTo>
                        <a:lnTo>
                          <a:pt x="12" y="234"/>
                        </a:lnTo>
                        <a:lnTo>
                          <a:pt x="14" y="232"/>
                        </a:lnTo>
                        <a:lnTo>
                          <a:pt x="14" y="222"/>
                        </a:lnTo>
                        <a:lnTo>
                          <a:pt x="15" y="220"/>
                        </a:lnTo>
                        <a:lnTo>
                          <a:pt x="15" y="218"/>
                        </a:lnTo>
                        <a:lnTo>
                          <a:pt x="17" y="216"/>
                        </a:lnTo>
                        <a:lnTo>
                          <a:pt x="17" y="215"/>
                        </a:lnTo>
                        <a:lnTo>
                          <a:pt x="18" y="213"/>
                        </a:lnTo>
                        <a:lnTo>
                          <a:pt x="18" y="204"/>
                        </a:lnTo>
                        <a:lnTo>
                          <a:pt x="17" y="201"/>
                        </a:lnTo>
                        <a:lnTo>
                          <a:pt x="15" y="200"/>
                        </a:lnTo>
                        <a:lnTo>
                          <a:pt x="14" y="200"/>
                        </a:lnTo>
                        <a:lnTo>
                          <a:pt x="12" y="198"/>
                        </a:lnTo>
                        <a:lnTo>
                          <a:pt x="9" y="198"/>
                        </a:lnTo>
                        <a:lnTo>
                          <a:pt x="8" y="195"/>
                        </a:lnTo>
                        <a:lnTo>
                          <a:pt x="6" y="194"/>
                        </a:lnTo>
                        <a:lnTo>
                          <a:pt x="5" y="191"/>
                        </a:lnTo>
                        <a:lnTo>
                          <a:pt x="5" y="185"/>
                        </a:lnTo>
                        <a:lnTo>
                          <a:pt x="6" y="182"/>
                        </a:lnTo>
                        <a:lnTo>
                          <a:pt x="8" y="181"/>
                        </a:lnTo>
                        <a:lnTo>
                          <a:pt x="9" y="178"/>
                        </a:lnTo>
                        <a:lnTo>
                          <a:pt x="9" y="176"/>
                        </a:lnTo>
                        <a:lnTo>
                          <a:pt x="8" y="175"/>
                        </a:lnTo>
                        <a:lnTo>
                          <a:pt x="3" y="175"/>
                        </a:lnTo>
                        <a:lnTo>
                          <a:pt x="0" y="173"/>
                        </a:lnTo>
                        <a:lnTo>
                          <a:pt x="0" y="167"/>
                        </a:lnTo>
                        <a:lnTo>
                          <a:pt x="3" y="167"/>
                        </a:lnTo>
                        <a:lnTo>
                          <a:pt x="9" y="164"/>
                        </a:lnTo>
                        <a:lnTo>
                          <a:pt x="19" y="154"/>
                        </a:lnTo>
                        <a:lnTo>
                          <a:pt x="19" y="150"/>
                        </a:lnTo>
                        <a:lnTo>
                          <a:pt x="15" y="150"/>
                        </a:lnTo>
                        <a:lnTo>
                          <a:pt x="14" y="151"/>
                        </a:lnTo>
                        <a:lnTo>
                          <a:pt x="11" y="151"/>
                        </a:lnTo>
                        <a:lnTo>
                          <a:pt x="11" y="150"/>
                        </a:lnTo>
                        <a:lnTo>
                          <a:pt x="12" y="148"/>
                        </a:lnTo>
                        <a:lnTo>
                          <a:pt x="12" y="145"/>
                        </a:lnTo>
                        <a:lnTo>
                          <a:pt x="15" y="139"/>
                        </a:lnTo>
                        <a:lnTo>
                          <a:pt x="15" y="132"/>
                        </a:lnTo>
                        <a:lnTo>
                          <a:pt x="18" y="129"/>
                        </a:lnTo>
                        <a:lnTo>
                          <a:pt x="21" y="127"/>
                        </a:lnTo>
                        <a:lnTo>
                          <a:pt x="27" y="121"/>
                        </a:lnTo>
                        <a:lnTo>
                          <a:pt x="27" y="120"/>
                        </a:lnTo>
                        <a:lnTo>
                          <a:pt x="28" y="117"/>
                        </a:lnTo>
                        <a:lnTo>
                          <a:pt x="28" y="111"/>
                        </a:lnTo>
                        <a:lnTo>
                          <a:pt x="33" y="111"/>
                        </a:lnTo>
                        <a:lnTo>
                          <a:pt x="34" y="110"/>
                        </a:lnTo>
                        <a:lnTo>
                          <a:pt x="36" y="110"/>
                        </a:lnTo>
                        <a:lnTo>
                          <a:pt x="36" y="105"/>
                        </a:lnTo>
                        <a:lnTo>
                          <a:pt x="39" y="98"/>
                        </a:lnTo>
                        <a:lnTo>
                          <a:pt x="51" y="99"/>
                        </a:lnTo>
                        <a:lnTo>
                          <a:pt x="54" y="101"/>
                        </a:lnTo>
                        <a:lnTo>
                          <a:pt x="55" y="102"/>
                        </a:lnTo>
                        <a:lnTo>
                          <a:pt x="58" y="104"/>
                        </a:lnTo>
                        <a:lnTo>
                          <a:pt x="61" y="107"/>
                        </a:lnTo>
                        <a:lnTo>
                          <a:pt x="64" y="108"/>
                        </a:lnTo>
                        <a:lnTo>
                          <a:pt x="67" y="111"/>
                        </a:lnTo>
                        <a:lnTo>
                          <a:pt x="70" y="111"/>
                        </a:lnTo>
                        <a:lnTo>
                          <a:pt x="73" y="108"/>
                        </a:lnTo>
                        <a:lnTo>
                          <a:pt x="76" y="111"/>
                        </a:lnTo>
                        <a:lnTo>
                          <a:pt x="83" y="111"/>
                        </a:lnTo>
                        <a:lnTo>
                          <a:pt x="85" y="110"/>
                        </a:lnTo>
                        <a:lnTo>
                          <a:pt x="88" y="110"/>
                        </a:lnTo>
                        <a:lnTo>
                          <a:pt x="90" y="111"/>
                        </a:lnTo>
                        <a:lnTo>
                          <a:pt x="92" y="111"/>
                        </a:lnTo>
                        <a:lnTo>
                          <a:pt x="92" y="110"/>
                        </a:lnTo>
                        <a:lnTo>
                          <a:pt x="93" y="107"/>
                        </a:lnTo>
                        <a:lnTo>
                          <a:pt x="93" y="98"/>
                        </a:lnTo>
                        <a:lnTo>
                          <a:pt x="95" y="96"/>
                        </a:lnTo>
                        <a:lnTo>
                          <a:pt x="95" y="95"/>
                        </a:lnTo>
                        <a:lnTo>
                          <a:pt x="99" y="90"/>
                        </a:lnTo>
                        <a:lnTo>
                          <a:pt x="99" y="83"/>
                        </a:lnTo>
                        <a:lnTo>
                          <a:pt x="98" y="80"/>
                        </a:lnTo>
                        <a:lnTo>
                          <a:pt x="98" y="77"/>
                        </a:lnTo>
                        <a:lnTo>
                          <a:pt x="111" y="68"/>
                        </a:lnTo>
                        <a:lnTo>
                          <a:pt x="110" y="65"/>
                        </a:lnTo>
                        <a:lnTo>
                          <a:pt x="110" y="58"/>
                        </a:lnTo>
                        <a:lnTo>
                          <a:pt x="108" y="55"/>
                        </a:lnTo>
                        <a:lnTo>
                          <a:pt x="108" y="49"/>
                        </a:lnTo>
                        <a:lnTo>
                          <a:pt x="107" y="47"/>
                        </a:lnTo>
                        <a:lnTo>
                          <a:pt x="107" y="46"/>
                        </a:lnTo>
                        <a:lnTo>
                          <a:pt x="120" y="39"/>
                        </a:lnTo>
                        <a:lnTo>
                          <a:pt x="120" y="36"/>
                        </a:lnTo>
                        <a:lnTo>
                          <a:pt x="123" y="33"/>
                        </a:lnTo>
                        <a:lnTo>
                          <a:pt x="125" y="33"/>
                        </a:lnTo>
                        <a:lnTo>
                          <a:pt x="130" y="39"/>
                        </a:lnTo>
                        <a:lnTo>
                          <a:pt x="135" y="39"/>
                        </a:lnTo>
                        <a:lnTo>
                          <a:pt x="142" y="45"/>
                        </a:lnTo>
                        <a:lnTo>
                          <a:pt x="153" y="36"/>
                        </a:lnTo>
                        <a:lnTo>
                          <a:pt x="150" y="18"/>
                        </a:lnTo>
                        <a:lnTo>
                          <a:pt x="162" y="21"/>
                        </a:lnTo>
                        <a:lnTo>
                          <a:pt x="163" y="24"/>
                        </a:lnTo>
                        <a:lnTo>
                          <a:pt x="157" y="30"/>
                        </a:lnTo>
                        <a:lnTo>
                          <a:pt x="157" y="31"/>
                        </a:lnTo>
                        <a:lnTo>
                          <a:pt x="159" y="33"/>
                        </a:lnTo>
                        <a:lnTo>
                          <a:pt x="162" y="33"/>
                        </a:lnTo>
                        <a:lnTo>
                          <a:pt x="163" y="34"/>
                        </a:lnTo>
                        <a:lnTo>
                          <a:pt x="166" y="34"/>
                        </a:lnTo>
                        <a:lnTo>
                          <a:pt x="178" y="40"/>
                        </a:lnTo>
                        <a:lnTo>
                          <a:pt x="181" y="43"/>
                        </a:lnTo>
                        <a:lnTo>
                          <a:pt x="200" y="16"/>
                        </a:lnTo>
                        <a:lnTo>
                          <a:pt x="203" y="16"/>
                        </a:lnTo>
                        <a:lnTo>
                          <a:pt x="207" y="15"/>
                        </a:lnTo>
                        <a:lnTo>
                          <a:pt x="210" y="15"/>
                        </a:lnTo>
                        <a:lnTo>
                          <a:pt x="210" y="9"/>
                        </a:lnTo>
                        <a:lnTo>
                          <a:pt x="212" y="8"/>
                        </a:lnTo>
                        <a:lnTo>
                          <a:pt x="212" y="2"/>
                        </a:lnTo>
                        <a:lnTo>
                          <a:pt x="213"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20" name="Freeform 300" descr="© INSCALE GmbH, 21.06.2010"/>
                  <p:cNvSpPr>
                    <a:spLocks noChangeAspect="1"/>
                  </p:cNvSpPr>
                  <p:nvPr/>
                </p:nvSpPr>
                <p:spPr bwMode="auto">
                  <a:xfrm>
                    <a:off x="3840959" y="3489249"/>
                    <a:ext cx="263563" cy="233046"/>
                  </a:xfrm>
                  <a:custGeom>
                    <a:avLst/>
                    <a:gdLst>
                      <a:gd name="T0" fmla="*/ 2147483646 w 277"/>
                      <a:gd name="T1" fmla="*/ 2147483646 h 244"/>
                      <a:gd name="T2" fmla="*/ 2147483646 w 277"/>
                      <a:gd name="T3" fmla="*/ 2147483646 h 244"/>
                      <a:gd name="T4" fmla="*/ 2147483646 w 277"/>
                      <a:gd name="T5" fmla="*/ 2147483646 h 244"/>
                      <a:gd name="T6" fmla="*/ 2147483646 w 277"/>
                      <a:gd name="T7" fmla="*/ 2147483646 h 244"/>
                      <a:gd name="T8" fmla="*/ 2147483646 w 277"/>
                      <a:gd name="T9" fmla="*/ 2147483646 h 244"/>
                      <a:gd name="T10" fmla="*/ 2147483646 w 277"/>
                      <a:gd name="T11" fmla="*/ 2147483646 h 244"/>
                      <a:gd name="T12" fmla="*/ 2147483646 w 277"/>
                      <a:gd name="T13" fmla="*/ 2147483646 h 244"/>
                      <a:gd name="T14" fmla="*/ 2147483646 w 277"/>
                      <a:gd name="T15" fmla="*/ 2147483646 h 244"/>
                      <a:gd name="T16" fmla="*/ 2147483646 w 277"/>
                      <a:gd name="T17" fmla="*/ 2147483646 h 244"/>
                      <a:gd name="T18" fmla="*/ 2147483646 w 277"/>
                      <a:gd name="T19" fmla="*/ 2147483646 h 244"/>
                      <a:gd name="T20" fmla="*/ 2147483646 w 277"/>
                      <a:gd name="T21" fmla="*/ 2147483646 h 244"/>
                      <a:gd name="T22" fmla="*/ 2147483646 w 277"/>
                      <a:gd name="T23" fmla="*/ 2147483646 h 244"/>
                      <a:gd name="T24" fmla="*/ 2147483646 w 277"/>
                      <a:gd name="T25" fmla="*/ 2147483646 h 244"/>
                      <a:gd name="T26" fmla="*/ 2147483646 w 277"/>
                      <a:gd name="T27" fmla="*/ 2147483646 h 244"/>
                      <a:gd name="T28" fmla="*/ 2147483646 w 277"/>
                      <a:gd name="T29" fmla="*/ 2147483646 h 244"/>
                      <a:gd name="T30" fmla="*/ 2147483646 w 277"/>
                      <a:gd name="T31" fmla="*/ 2147483646 h 244"/>
                      <a:gd name="T32" fmla="*/ 2147483646 w 277"/>
                      <a:gd name="T33" fmla="*/ 2147483646 h 244"/>
                      <a:gd name="T34" fmla="*/ 2147483646 w 277"/>
                      <a:gd name="T35" fmla="*/ 2147483646 h 244"/>
                      <a:gd name="T36" fmla="*/ 2147483646 w 277"/>
                      <a:gd name="T37" fmla="*/ 2147483646 h 244"/>
                      <a:gd name="T38" fmla="*/ 2147483646 w 277"/>
                      <a:gd name="T39" fmla="*/ 2147483646 h 244"/>
                      <a:gd name="T40" fmla="*/ 2147483646 w 277"/>
                      <a:gd name="T41" fmla="*/ 2147483646 h 244"/>
                      <a:gd name="T42" fmla="*/ 2147483646 w 277"/>
                      <a:gd name="T43" fmla="*/ 2147483646 h 244"/>
                      <a:gd name="T44" fmla="*/ 2147483646 w 277"/>
                      <a:gd name="T45" fmla="*/ 2147483646 h 244"/>
                      <a:gd name="T46" fmla="*/ 2147483646 w 277"/>
                      <a:gd name="T47" fmla="*/ 2147483646 h 244"/>
                      <a:gd name="T48" fmla="*/ 2147483646 w 277"/>
                      <a:gd name="T49" fmla="*/ 2147483646 h 244"/>
                      <a:gd name="T50" fmla="*/ 2147483646 w 277"/>
                      <a:gd name="T51" fmla="*/ 2147483646 h 244"/>
                      <a:gd name="T52" fmla="*/ 2147483646 w 277"/>
                      <a:gd name="T53" fmla="*/ 2147483646 h 244"/>
                      <a:gd name="T54" fmla="*/ 2147483646 w 277"/>
                      <a:gd name="T55" fmla="*/ 2147483646 h 244"/>
                      <a:gd name="T56" fmla="*/ 2147483646 w 277"/>
                      <a:gd name="T57" fmla="*/ 2147483646 h 244"/>
                      <a:gd name="T58" fmla="*/ 2147483646 w 277"/>
                      <a:gd name="T59" fmla="*/ 2147483646 h 244"/>
                      <a:gd name="T60" fmla="*/ 2147483646 w 277"/>
                      <a:gd name="T61" fmla="*/ 2147483646 h 244"/>
                      <a:gd name="T62" fmla="*/ 2147483646 w 277"/>
                      <a:gd name="T63" fmla="*/ 2147483646 h 244"/>
                      <a:gd name="T64" fmla="*/ 2147483646 w 277"/>
                      <a:gd name="T65" fmla="*/ 2147483646 h 244"/>
                      <a:gd name="T66" fmla="*/ 2147483646 w 277"/>
                      <a:gd name="T67" fmla="*/ 2147483646 h 244"/>
                      <a:gd name="T68" fmla="*/ 0 w 277"/>
                      <a:gd name="T69" fmla="*/ 2147483646 h 244"/>
                      <a:gd name="T70" fmla="*/ 2147483646 w 277"/>
                      <a:gd name="T71" fmla="*/ 2147483646 h 244"/>
                      <a:gd name="T72" fmla="*/ 2147483646 w 277"/>
                      <a:gd name="T73" fmla="*/ 2147483646 h 244"/>
                      <a:gd name="T74" fmla="*/ 2147483646 w 277"/>
                      <a:gd name="T75" fmla="*/ 2147483646 h 244"/>
                      <a:gd name="T76" fmla="*/ 2147483646 w 277"/>
                      <a:gd name="T77" fmla="*/ 2147483646 h 244"/>
                      <a:gd name="T78" fmla="*/ 2147483646 w 277"/>
                      <a:gd name="T79" fmla="*/ 2147483646 h 244"/>
                      <a:gd name="T80" fmla="*/ 2147483646 w 277"/>
                      <a:gd name="T81" fmla="*/ 2147483646 h 244"/>
                      <a:gd name="T82" fmla="*/ 2147483646 w 277"/>
                      <a:gd name="T83" fmla="*/ 2147483646 h 244"/>
                      <a:gd name="T84" fmla="*/ 2147483646 w 277"/>
                      <a:gd name="T85" fmla="*/ 2147483646 h 244"/>
                      <a:gd name="T86" fmla="*/ 2147483646 w 277"/>
                      <a:gd name="T87" fmla="*/ 2147483646 h 244"/>
                      <a:gd name="T88" fmla="*/ 2147483646 w 277"/>
                      <a:gd name="T89" fmla="*/ 2147483646 h 244"/>
                      <a:gd name="T90" fmla="*/ 2147483646 w 277"/>
                      <a:gd name="T91" fmla="*/ 2147483646 h 244"/>
                      <a:gd name="T92" fmla="*/ 2147483646 w 277"/>
                      <a:gd name="T93" fmla="*/ 2147483646 h 244"/>
                      <a:gd name="T94" fmla="*/ 2147483646 w 277"/>
                      <a:gd name="T95" fmla="*/ 2147483646 h 244"/>
                      <a:gd name="T96" fmla="*/ 2147483646 w 277"/>
                      <a:gd name="T97" fmla="*/ 2147483646 h 2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7"/>
                      <a:gd name="T148" fmla="*/ 0 h 244"/>
                      <a:gd name="T149" fmla="*/ 277 w 277"/>
                      <a:gd name="T150" fmla="*/ 244 h 2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7" h="244">
                        <a:moveTo>
                          <a:pt x="132" y="0"/>
                        </a:moveTo>
                        <a:lnTo>
                          <a:pt x="142" y="0"/>
                        </a:lnTo>
                        <a:lnTo>
                          <a:pt x="142" y="2"/>
                        </a:lnTo>
                        <a:lnTo>
                          <a:pt x="144" y="2"/>
                        </a:lnTo>
                        <a:lnTo>
                          <a:pt x="150" y="3"/>
                        </a:lnTo>
                        <a:lnTo>
                          <a:pt x="153" y="6"/>
                        </a:lnTo>
                        <a:lnTo>
                          <a:pt x="153" y="30"/>
                        </a:lnTo>
                        <a:lnTo>
                          <a:pt x="156" y="29"/>
                        </a:lnTo>
                        <a:lnTo>
                          <a:pt x="160" y="29"/>
                        </a:lnTo>
                        <a:lnTo>
                          <a:pt x="163" y="27"/>
                        </a:lnTo>
                        <a:lnTo>
                          <a:pt x="168" y="26"/>
                        </a:lnTo>
                        <a:lnTo>
                          <a:pt x="170" y="24"/>
                        </a:lnTo>
                        <a:lnTo>
                          <a:pt x="172" y="23"/>
                        </a:lnTo>
                        <a:lnTo>
                          <a:pt x="173" y="23"/>
                        </a:lnTo>
                        <a:lnTo>
                          <a:pt x="200" y="30"/>
                        </a:lnTo>
                        <a:lnTo>
                          <a:pt x="202" y="31"/>
                        </a:lnTo>
                        <a:lnTo>
                          <a:pt x="203" y="34"/>
                        </a:lnTo>
                        <a:lnTo>
                          <a:pt x="206" y="36"/>
                        </a:lnTo>
                        <a:lnTo>
                          <a:pt x="207" y="39"/>
                        </a:lnTo>
                        <a:lnTo>
                          <a:pt x="207" y="42"/>
                        </a:lnTo>
                        <a:lnTo>
                          <a:pt x="200" y="49"/>
                        </a:lnTo>
                        <a:lnTo>
                          <a:pt x="199" y="52"/>
                        </a:lnTo>
                        <a:lnTo>
                          <a:pt x="196" y="54"/>
                        </a:lnTo>
                        <a:lnTo>
                          <a:pt x="207" y="55"/>
                        </a:lnTo>
                        <a:lnTo>
                          <a:pt x="219" y="70"/>
                        </a:lnTo>
                        <a:lnTo>
                          <a:pt x="219" y="73"/>
                        </a:lnTo>
                        <a:lnTo>
                          <a:pt x="218" y="76"/>
                        </a:lnTo>
                        <a:lnTo>
                          <a:pt x="218" y="80"/>
                        </a:lnTo>
                        <a:lnTo>
                          <a:pt x="216" y="88"/>
                        </a:lnTo>
                        <a:lnTo>
                          <a:pt x="216" y="98"/>
                        </a:lnTo>
                        <a:lnTo>
                          <a:pt x="219" y="107"/>
                        </a:lnTo>
                        <a:lnTo>
                          <a:pt x="221" y="113"/>
                        </a:lnTo>
                        <a:lnTo>
                          <a:pt x="222" y="116"/>
                        </a:lnTo>
                        <a:lnTo>
                          <a:pt x="213" y="125"/>
                        </a:lnTo>
                        <a:lnTo>
                          <a:pt x="213" y="126"/>
                        </a:lnTo>
                        <a:lnTo>
                          <a:pt x="215" y="128"/>
                        </a:lnTo>
                        <a:lnTo>
                          <a:pt x="215" y="131"/>
                        </a:lnTo>
                        <a:lnTo>
                          <a:pt x="216" y="132"/>
                        </a:lnTo>
                        <a:lnTo>
                          <a:pt x="218" y="135"/>
                        </a:lnTo>
                        <a:lnTo>
                          <a:pt x="219" y="136"/>
                        </a:lnTo>
                        <a:lnTo>
                          <a:pt x="222" y="136"/>
                        </a:lnTo>
                        <a:lnTo>
                          <a:pt x="224" y="135"/>
                        </a:lnTo>
                        <a:lnTo>
                          <a:pt x="230" y="132"/>
                        </a:lnTo>
                        <a:lnTo>
                          <a:pt x="231" y="131"/>
                        </a:lnTo>
                        <a:lnTo>
                          <a:pt x="250" y="129"/>
                        </a:lnTo>
                        <a:lnTo>
                          <a:pt x="255" y="141"/>
                        </a:lnTo>
                        <a:lnTo>
                          <a:pt x="250" y="145"/>
                        </a:lnTo>
                        <a:lnTo>
                          <a:pt x="250" y="156"/>
                        </a:lnTo>
                        <a:lnTo>
                          <a:pt x="252" y="159"/>
                        </a:lnTo>
                        <a:lnTo>
                          <a:pt x="255" y="162"/>
                        </a:lnTo>
                        <a:lnTo>
                          <a:pt x="259" y="163"/>
                        </a:lnTo>
                        <a:lnTo>
                          <a:pt x="262" y="165"/>
                        </a:lnTo>
                        <a:lnTo>
                          <a:pt x="267" y="165"/>
                        </a:lnTo>
                        <a:lnTo>
                          <a:pt x="270" y="166"/>
                        </a:lnTo>
                        <a:lnTo>
                          <a:pt x="273" y="166"/>
                        </a:lnTo>
                        <a:lnTo>
                          <a:pt x="273" y="168"/>
                        </a:lnTo>
                        <a:lnTo>
                          <a:pt x="274" y="169"/>
                        </a:lnTo>
                        <a:lnTo>
                          <a:pt x="274" y="176"/>
                        </a:lnTo>
                        <a:lnTo>
                          <a:pt x="276" y="181"/>
                        </a:lnTo>
                        <a:lnTo>
                          <a:pt x="276" y="188"/>
                        </a:lnTo>
                        <a:lnTo>
                          <a:pt x="273" y="197"/>
                        </a:lnTo>
                        <a:lnTo>
                          <a:pt x="273" y="200"/>
                        </a:lnTo>
                        <a:lnTo>
                          <a:pt x="271" y="203"/>
                        </a:lnTo>
                        <a:lnTo>
                          <a:pt x="270" y="204"/>
                        </a:lnTo>
                        <a:lnTo>
                          <a:pt x="270" y="206"/>
                        </a:lnTo>
                        <a:lnTo>
                          <a:pt x="271" y="204"/>
                        </a:lnTo>
                        <a:lnTo>
                          <a:pt x="274" y="204"/>
                        </a:lnTo>
                        <a:lnTo>
                          <a:pt x="277" y="203"/>
                        </a:lnTo>
                        <a:lnTo>
                          <a:pt x="277" y="209"/>
                        </a:lnTo>
                        <a:lnTo>
                          <a:pt x="276" y="209"/>
                        </a:lnTo>
                        <a:lnTo>
                          <a:pt x="274" y="210"/>
                        </a:lnTo>
                        <a:lnTo>
                          <a:pt x="270" y="210"/>
                        </a:lnTo>
                        <a:lnTo>
                          <a:pt x="267" y="212"/>
                        </a:lnTo>
                        <a:lnTo>
                          <a:pt x="259" y="212"/>
                        </a:lnTo>
                        <a:lnTo>
                          <a:pt x="258" y="209"/>
                        </a:lnTo>
                        <a:lnTo>
                          <a:pt x="255" y="207"/>
                        </a:lnTo>
                        <a:lnTo>
                          <a:pt x="253" y="206"/>
                        </a:lnTo>
                        <a:lnTo>
                          <a:pt x="252" y="203"/>
                        </a:lnTo>
                        <a:lnTo>
                          <a:pt x="250" y="203"/>
                        </a:lnTo>
                        <a:lnTo>
                          <a:pt x="247" y="202"/>
                        </a:lnTo>
                        <a:lnTo>
                          <a:pt x="234" y="202"/>
                        </a:lnTo>
                        <a:lnTo>
                          <a:pt x="231" y="204"/>
                        </a:lnTo>
                        <a:lnTo>
                          <a:pt x="231" y="209"/>
                        </a:lnTo>
                        <a:lnTo>
                          <a:pt x="227" y="209"/>
                        </a:lnTo>
                        <a:lnTo>
                          <a:pt x="213" y="204"/>
                        </a:lnTo>
                        <a:lnTo>
                          <a:pt x="210" y="202"/>
                        </a:lnTo>
                        <a:lnTo>
                          <a:pt x="207" y="200"/>
                        </a:lnTo>
                        <a:lnTo>
                          <a:pt x="206" y="199"/>
                        </a:lnTo>
                        <a:lnTo>
                          <a:pt x="206" y="197"/>
                        </a:lnTo>
                        <a:lnTo>
                          <a:pt x="199" y="199"/>
                        </a:lnTo>
                        <a:lnTo>
                          <a:pt x="197" y="197"/>
                        </a:lnTo>
                        <a:lnTo>
                          <a:pt x="196" y="194"/>
                        </a:lnTo>
                        <a:lnTo>
                          <a:pt x="196" y="191"/>
                        </a:lnTo>
                        <a:lnTo>
                          <a:pt x="197" y="190"/>
                        </a:lnTo>
                        <a:lnTo>
                          <a:pt x="197" y="184"/>
                        </a:lnTo>
                        <a:lnTo>
                          <a:pt x="196" y="182"/>
                        </a:lnTo>
                        <a:lnTo>
                          <a:pt x="196" y="176"/>
                        </a:lnTo>
                        <a:lnTo>
                          <a:pt x="185" y="184"/>
                        </a:lnTo>
                        <a:lnTo>
                          <a:pt x="179" y="190"/>
                        </a:lnTo>
                        <a:lnTo>
                          <a:pt x="176" y="191"/>
                        </a:lnTo>
                        <a:lnTo>
                          <a:pt x="173" y="191"/>
                        </a:lnTo>
                        <a:lnTo>
                          <a:pt x="170" y="193"/>
                        </a:lnTo>
                        <a:lnTo>
                          <a:pt x="169" y="196"/>
                        </a:lnTo>
                        <a:lnTo>
                          <a:pt x="166" y="197"/>
                        </a:lnTo>
                        <a:lnTo>
                          <a:pt x="160" y="191"/>
                        </a:lnTo>
                        <a:lnTo>
                          <a:pt x="154" y="191"/>
                        </a:lnTo>
                        <a:lnTo>
                          <a:pt x="153" y="203"/>
                        </a:lnTo>
                        <a:lnTo>
                          <a:pt x="142" y="215"/>
                        </a:lnTo>
                        <a:lnTo>
                          <a:pt x="128" y="218"/>
                        </a:lnTo>
                        <a:lnTo>
                          <a:pt x="128" y="230"/>
                        </a:lnTo>
                        <a:lnTo>
                          <a:pt x="129" y="237"/>
                        </a:lnTo>
                        <a:lnTo>
                          <a:pt x="129" y="243"/>
                        </a:lnTo>
                        <a:lnTo>
                          <a:pt x="128" y="243"/>
                        </a:lnTo>
                        <a:lnTo>
                          <a:pt x="125" y="244"/>
                        </a:lnTo>
                        <a:lnTo>
                          <a:pt x="122" y="244"/>
                        </a:lnTo>
                        <a:lnTo>
                          <a:pt x="119" y="243"/>
                        </a:lnTo>
                        <a:lnTo>
                          <a:pt x="117" y="240"/>
                        </a:lnTo>
                        <a:lnTo>
                          <a:pt x="116" y="238"/>
                        </a:lnTo>
                        <a:lnTo>
                          <a:pt x="116" y="237"/>
                        </a:lnTo>
                        <a:lnTo>
                          <a:pt x="113" y="234"/>
                        </a:lnTo>
                        <a:lnTo>
                          <a:pt x="111" y="234"/>
                        </a:lnTo>
                        <a:lnTo>
                          <a:pt x="110" y="236"/>
                        </a:lnTo>
                        <a:lnTo>
                          <a:pt x="105" y="237"/>
                        </a:lnTo>
                        <a:lnTo>
                          <a:pt x="91" y="240"/>
                        </a:lnTo>
                        <a:lnTo>
                          <a:pt x="77" y="241"/>
                        </a:lnTo>
                        <a:lnTo>
                          <a:pt x="68" y="240"/>
                        </a:lnTo>
                        <a:lnTo>
                          <a:pt x="64" y="240"/>
                        </a:lnTo>
                        <a:lnTo>
                          <a:pt x="62" y="238"/>
                        </a:lnTo>
                        <a:lnTo>
                          <a:pt x="60" y="237"/>
                        </a:lnTo>
                        <a:lnTo>
                          <a:pt x="58" y="234"/>
                        </a:lnTo>
                        <a:lnTo>
                          <a:pt x="55" y="231"/>
                        </a:lnTo>
                        <a:lnTo>
                          <a:pt x="54" y="227"/>
                        </a:lnTo>
                        <a:lnTo>
                          <a:pt x="54" y="219"/>
                        </a:lnTo>
                        <a:lnTo>
                          <a:pt x="52" y="216"/>
                        </a:lnTo>
                        <a:lnTo>
                          <a:pt x="52" y="209"/>
                        </a:lnTo>
                        <a:lnTo>
                          <a:pt x="51" y="207"/>
                        </a:lnTo>
                        <a:lnTo>
                          <a:pt x="51" y="206"/>
                        </a:lnTo>
                        <a:lnTo>
                          <a:pt x="25" y="166"/>
                        </a:lnTo>
                        <a:lnTo>
                          <a:pt x="9" y="163"/>
                        </a:lnTo>
                        <a:lnTo>
                          <a:pt x="0" y="159"/>
                        </a:lnTo>
                        <a:lnTo>
                          <a:pt x="0" y="157"/>
                        </a:lnTo>
                        <a:lnTo>
                          <a:pt x="5" y="153"/>
                        </a:lnTo>
                        <a:lnTo>
                          <a:pt x="6" y="150"/>
                        </a:lnTo>
                        <a:lnTo>
                          <a:pt x="9" y="147"/>
                        </a:lnTo>
                        <a:lnTo>
                          <a:pt x="12" y="141"/>
                        </a:lnTo>
                        <a:lnTo>
                          <a:pt x="12" y="139"/>
                        </a:lnTo>
                        <a:lnTo>
                          <a:pt x="11" y="138"/>
                        </a:lnTo>
                        <a:lnTo>
                          <a:pt x="11" y="133"/>
                        </a:lnTo>
                        <a:lnTo>
                          <a:pt x="12" y="132"/>
                        </a:lnTo>
                        <a:lnTo>
                          <a:pt x="14" y="129"/>
                        </a:lnTo>
                        <a:lnTo>
                          <a:pt x="14" y="126"/>
                        </a:lnTo>
                        <a:lnTo>
                          <a:pt x="15" y="123"/>
                        </a:lnTo>
                        <a:lnTo>
                          <a:pt x="15" y="119"/>
                        </a:lnTo>
                        <a:lnTo>
                          <a:pt x="18" y="110"/>
                        </a:lnTo>
                        <a:lnTo>
                          <a:pt x="20" y="108"/>
                        </a:lnTo>
                        <a:lnTo>
                          <a:pt x="18" y="105"/>
                        </a:lnTo>
                        <a:lnTo>
                          <a:pt x="17" y="104"/>
                        </a:lnTo>
                        <a:lnTo>
                          <a:pt x="14" y="102"/>
                        </a:lnTo>
                        <a:lnTo>
                          <a:pt x="11" y="99"/>
                        </a:lnTo>
                        <a:lnTo>
                          <a:pt x="11" y="98"/>
                        </a:lnTo>
                        <a:lnTo>
                          <a:pt x="15" y="89"/>
                        </a:lnTo>
                        <a:lnTo>
                          <a:pt x="18" y="86"/>
                        </a:lnTo>
                        <a:lnTo>
                          <a:pt x="18" y="82"/>
                        </a:lnTo>
                        <a:lnTo>
                          <a:pt x="15" y="80"/>
                        </a:lnTo>
                        <a:lnTo>
                          <a:pt x="14" y="79"/>
                        </a:lnTo>
                        <a:lnTo>
                          <a:pt x="12" y="79"/>
                        </a:lnTo>
                        <a:lnTo>
                          <a:pt x="12" y="77"/>
                        </a:lnTo>
                        <a:lnTo>
                          <a:pt x="14" y="76"/>
                        </a:lnTo>
                        <a:lnTo>
                          <a:pt x="18" y="67"/>
                        </a:lnTo>
                        <a:lnTo>
                          <a:pt x="20" y="63"/>
                        </a:lnTo>
                        <a:lnTo>
                          <a:pt x="21" y="61"/>
                        </a:lnTo>
                        <a:lnTo>
                          <a:pt x="21" y="60"/>
                        </a:lnTo>
                        <a:lnTo>
                          <a:pt x="23" y="60"/>
                        </a:lnTo>
                        <a:lnTo>
                          <a:pt x="28" y="57"/>
                        </a:lnTo>
                        <a:lnTo>
                          <a:pt x="40" y="57"/>
                        </a:lnTo>
                        <a:lnTo>
                          <a:pt x="51" y="40"/>
                        </a:lnTo>
                        <a:lnTo>
                          <a:pt x="57" y="40"/>
                        </a:lnTo>
                        <a:lnTo>
                          <a:pt x="60" y="43"/>
                        </a:lnTo>
                        <a:lnTo>
                          <a:pt x="65" y="40"/>
                        </a:lnTo>
                        <a:lnTo>
                          <a:pt x="70" y="43"/>
                        </a:lnTo>
                        <a:lnTo>
                          <a:pt x="74" y="37"/>
                        </a:lnTo>
                        <a:lnTo>
                          <a:pt x="88" y="51"/>
                        </a:lnTo>
                        <a:lnTo>
                          <a:pt x="99" y="51"/>
                        </a:lnTo>
                        <a:lnTo>
                          <a:pt x="101" y="49"/>
                        </a:lnTo>
                        <a:lnTo>
                          <a:pt x="104" y="48"/>
                        </a:lnTo>
                        <a:lnTo>
                          <a:pt x="110" y="42"/>
                        </a:lnTo>
                        <a:lnTo>
                          <a:pt x="110" y="40"/>
                        </a:lnTo>
                        <a:lnTo>
                          <a:pt x="111" y="39"/>
                        </a:lnTo>
                        <a:lnTo>
                          <a:pt x="111" y="36"/>
                        </a:lnTo>
                        <a:lnTo>
                          <a:pt x="108" y="27"/>
                        </a:lnTo>
                        <a:lnTo>
                          <a:pt x="108" y="21"/>
                        </a:lnTo>
                        <a:lnTo>
                          <a:pt x="110" y="18"/>
                        </a:lnTo>
                        <a:lnTo>
                          <a:pt x="113" y="15"/>
                        </a:lnTo>
                        <a:lnTo>
                          <a:pt x="114" y="11"/>
                        </a:lnTo>
                        <a:lnTo>
                          <a:pt x="114" y="8"/>
                        </a:lnTo>
                        <a:lnTo>
                          <a:pt x="125" y="2"/>
                        </a:lnTo>
                        <a:lnTo>
                          <a:pt x="132" y="0"/>
                        </a:lnTo>
                        <a:close/>
                      </a:path>
                    </a:pathLst>
                  </a:custGeom>
                  <a:solidFill>
                    <a:schemeClr val="accent1">
                      <a:lumMod val="75000"/>
                    </a:schemeClr>
                  </a:solidFill>
                  <a:ln w="9525" cap="flat" cmpd="sng">
                    <a:solidFill>
                      <a:schemeClr val="bg1"/>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900" kern="0" dirty="0">
                        <a:solidFill>
                          <a:srgbClr val="FFFFFF"/>
                        </a:solidFill>
                        <a:latin typeface="Calibri"/>
                        <a:ea typeface="MS PGothic" charset="0"/>
                        <a:cs typeface="Latha" panose="020B0604020202020204" pitchFamily="34" charset="0"/>
                      </a:rPr>
                      <a:t> </a:t>
                    </a:r>
                    <a:endParaRPr lang="de-DE" sz="85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850" kern="0" dirty="0">
                        <a:solidFill>
                          <a:srgbClr val="FFFFFF"/>
                        </a:solidFill>
                        <a:latin typeface="Calibri"/>
                        <a:ea typeface="MS PGothic" charset="0"/>
                        <a:cs typeface="Latha" panose="020B0604020202020204" pitchFamily="34" charset="0"/>
                      </a:rPr>
                      <a:t>        Kreis </a:t>
                    </a:r>
                  </a:p>
                  <a:p>
                    <a:pPr eaLnBrk="1" fontAlgn="auto" hangingPunct="1">
                      <a:spcBef>
                        <a:spcPts val="0"/>
                      </a:spcBef>
                      <a:spcAft>
                        <a:spcPts val="0"/>
                      </a:spcAft>
                      <a:defRPr/>
                    </a:pPr>
                    <a:r>
                      <a:rPr lang="de-DE" sz="850" kern="0" dirty="0">
                        <a:solidFill>
                          <a:srgbClr val="FFFFFF"/>
                        </a:solidFill>
                        <a:latin typeface="Calibri"/>
                        <a:ea typeface="MS PGothic" charset="0"/>
                        <a:cs typeface="Latha" panose="020B0604020202020204" pitchFamily="34" charset="0"/>
                      </a:rPr>
                      <a:t>        Lippe</a:t>
                    </a:r>
                  </a:p>
                </p:txBody>
              </p:sp>
              <p:sp>
                <p:nvSpPr>
                  <p:cNvPr id="121" name="Freeform 301" descr="© INSCALE GmbH, 21.06.2010"/>
                  <p:cNvSpPr>
                    <a:spLocks noChangeAspect="1"/>
                  </p:cNvSpPr>
                  <p:nvPr/>
                </p:nvSpPr>
                <p:spPr bwMode="auto">
                  <a:xfrm>
                    <a:off x="3731372" y="3281173"/>
                    <a:ext cx="306084" cy="219174"/>
                  </a:xfrm>
                  <a:custGeom>
                    <a:avLst/>
                    <a:gdLst>
                      <a:gd name="T0" fmla="*/ 2147483646 w 316"/>
                      <a:gd name="T1" fmla="*/ 2147483646 h 231"/>
                      <a:gd name="T2" fmla="*/ 2147483646 w 316"/>
                      <a:gd name="T3" fmla="*/ 2147483646 h 231"/>
                      <a:gd name="T4" fmla="*/ 2147483646 w 316"/>
                      <a:gd name="T5" fmla="*/ 2147483646 h 231"/>
                      <a:gd name="T6" fmla="*/ 2147483646 w 316"/>
                      <a:gd name="T7" fmla="*/ 2147483646 h 231"/>
                      <a:gd name="T8" fmla="*/ 2147483646 w 316"/>
                      <a:gd name="T9" fmla="*/ 2147483646 h 231"/>
                      <a:gd name="T10" fmla="*/ 2147483646 w 316"/>
                      <a:gd name="T11" fmla="*/ 2147483646 h 231"/>
                      <a:gd name="T12" fmla="*/ 2147483646 w 316"/>
                      <a:gd name="T13" fmla="*/ 2147483646 h 231"/>
                      <a:gd name="T14" fmla="*/ 2147483646 w 316"/>
                      <a:gd name="T15" fmla="*/ 2147483646 h 231"/>
                      <a:gd name="T16" fmla="*/ 2147483646 w 316"/>
                      <a:gd name="T17" fmla="*/ 2147483646 h 231"/>
                      <a:gd name="T18" fmla="*/ 2147483646 w 316"/>
                      <a:gd name="T19" fmla="*/ 2147483646 h 231"/>
                      <a:gd name="T20" fmla="*/ 2147483646 w 316"/>
                      <a:gd name="T21" fmla="*/ 2147483646 h 231"/>
                      <a:gd name="T22" fmla="*/ 2147483646 w 316"/>
                      <a:gd name="T23" fmla="*/ 2147483646 h 231"/>
                      <a:gd name="T24" fmla="*/ 2147483646 w 316"/>
                      <a:gd name="T25" fmla="*/ 2147483646 h 231"/>
                      <a:gd name="T26" fmla="*/ 2147483646 w 316"/>
                      <a:gd name="T27" fmla="*/ 2147483646 h 231"/>
                      <a:gd name="T28" fmla="*/ 2147483646 w 316"/>
                      <a:gd name="T29" fmla="*/ 2147483646 h 231"/>
                      <a:gd name="T30" fmla="*/ 2147483646 w 316"/>
                      <a:gd name="T31" fmla="*/ 2147483646 h 231"/>
                      <a:gd name="T32" fmla="*/ 2147483646 w 316"/>
                      <a:gd name="T33" fmla="*/ 2147483646 h 231"/>
                      <a:gd name="T34" fmla="*/ 2147483646 w 316"/>
                      <a:gd name="T35" fmla="*/ 2147483646 h 231"/>
                      <a:gd name="T36" fmla="*/ 2147483646 w 316"/>
                      <a:gd name="T37" fmla="*/ 2147483646 h 231"/>
                      <a:gd name="T38" fmla="*/ 2147483646 w 316"/>
                      <a:gd name="T39" fmla="*/ 2147483646 h 231"/>
                      <a:gd name="T40" fmla="*/ 2147483646 w 316"/>
                      <a:gd name="T41" fmla="*/ 2147483646 h 231"/>
                      <a:gd name="T42" fmla="*/ 2147483646 w 316"/>
                      <a:gd name="T43" fmla="*/ 2147483646 h 231"/>
                      <a:gd name="T44" fmla="*/ 2147483646 w 316"/>
                      <a:gd name="T45" fmla="*/ 2147483646 h 231"/>
                      <a:gd name="T46" fmla="*/ 2147483646 w 316"/>
                      <a:gd name="T47" fmla="*/ 2147483646 h 231"/>
                      <a:gd name="T48" fmla="*/ 2147483646 w 316"/>
                      <a:gd name="T49" fmla="*/ 2147483646 h 231"/>
                      <a:gd name="T50" fmla="*/ 2147483646 w 316"/>
                      <a:gd name="T51" fmla="*/ 2147483646 h 231"/>
                      <a:gd name="T52" fmla="*/ 2147483646 w 316"/>
                      <a:gd name="T53" fmla="*/ 2147483646 h 231"/>
                      <a:gd name="T54" fmla="*/ 2147483646 w 316"/>
                      <a:gd name="T55" fmla="*/ 2147483646 h 231"/>
                      <a:gd name="T56" fmla="*/ 2147483646 w 316"/>
                      <a:gd name="T57" fmla="*/ 2147483646 h 231"/>
                      <a:gd name="T58" fmla="*/ 2147483646 w 316"/>
                      <a:gd name="T59" fmla="*/ 2147483646 h 231"/>
                      <a:gd name="T60" fmla="*/ 2147483646 w 316"/>
                      <a:gd name="T61" fmla="*/ 2147483646 h 231"/>
                      <a:gd name="T62" fmla="*/ 2147483646 w 316"/>
                      <a:gd name="T63" fmla="*/ 2147483646 h 231"/>
                      <a:gd name="T64" fmla="*/ 2147483646 w 316"/>
                      <a:gd name="T65" fmla="*/ 2147483646 h 231"/>
                      <a:gd name="T66" fmla="*/ 2147483646 w 316"/>
                      <a:gd name="T67" fmla="*/ 2147483646 h 231"/>
                      <a:gd name="T68" fmla="*/ 2147483646 w 316"/>
                      <a:gd name="T69" fmla="*/ 2147483646 h 231"/>
                      <a:gd name="T70" fmla="*/ 2147483646 w 316"/>
                      <a:gd name="T71" fmla="*/ 2147483646 h 231"/>
                      <a:gd name="T72" fmla="*/ 2147483646 w 316"/>
                      <a:gd name="T73" fmla="*/ 2147483646 h 231"/>
                      <a:gd name="T74" fmla="*/ 2147483646 w 316"/>
                      <a:gd name="T75" fmla="*/ 2147483646 h 231"/>
                      <a:gd name="T76" fmla="*/ 2147483646 w 316"/>
                      <a:gd name="T77" fmla="*/ 2147483646 h 231"/>
                      <a:gd name="T78" fmla="*/ 2147483646 w 316"/>
                      <a:gd name="T79" fmla="*/ 2147483646 h 231"/>
                      <a:gd name="T80" fmla="*/ 2147483646 w 316"/>
                      <a:gd name="T81" fmla="*/ 2147483646 h 231"/>
                      <a:gd name="T82" fmla="*/ 2147483646 w 316"/>
                      <a:gd name="T83" fmla="*/ 2147483646 h 231"/>
                      <a:gd name="T84" fmla="*/ 2147483646 w 316"/>
                      <a:gd name="T85" fmla="*/ 2147483646 h 231"/>
                      <a:gd name="T86" fmla="*/ 2147483646 w 316"/>
                      <a:gd name="T87" fmla="*/ 2147483646 h 231"/>
                      <a:gd name="T88" fmla="*/ 2147483646 w 316"/>
                      <a:gd name="T89" fmla="*/ 2147483646 h 231"/>
                      <a:gd name="T90" fmla="*/ 2147483646 w 316"/>
                      <a:gd name="T91" fmla="*/ 2147483646 h 231"/>
                      <a:gd name="T92" fmla="*/ 2147483646 w 316"/>
                      <a:gd name="T93" fmla="*/ 2147483646 h 231"/>
                      <a:gd name="T94" fmla="*/ 0 w 316"/>
                      <a:gd name="T95" fmla="*/ 2147483646 h 231"/>
                      <a:gd name="T96" fmla="*/ 2147483646 w 316"/>
                      <a:gd name="T97" fmla="*/ 2147483646 h 231"/>
                      <a:gd name="T98" fmla="*/ 2147483646 w 316"/>
                      <a:gd name="T99" fmla="*/ 2147483646 h 231"/>
                      <a:gd name="T100" fmla="*/ 2147483646 w 316"/>
                      <a:gd name="T101" fmla="*/ 2147483646 h 231"/>
                      <a:gd name="T102" fmla="*/ 2147483646 w 316"/>
                      <a:gd name="T103" fmla="*/ 2147483646 h 231"/>
                      <a:gd name="T104" fmla="*/ 2147483646 w 316"/>
                      <a:gd name="T105" fmla="*/ 2147483646 h 231"/>
                      <a:gd name="T106" fmla="*/ 2147483646 w 316"/>
                      <a:gd name="T107" fmla="*/ 2147483646 h 231"/>
                      <a:gd name="T108" fmla="*/ 2147483646 w 316"/>
                      <a:gd name="T109" fmla="*/ 2147483646 h 23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6"/>
                      <a:gd name="T166" fmla="*/ 0 h 231"/>
                      <a:gd name="T167" fmla="*/ 316 w 316"/>
                      <a:gd name="T168" fmla="*/ 231 h 23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6" h="231">
                        <a:moveTo>
                          <a:pt x="134" y="0"/>
                        </a:moveTo>
                        <a:lnTo>
                          <a:pt x="153" y="18"/>
                        </a:lnTo>
                        <a:lnTo>
                          <a:pt x="153" y="52"/>
                        </a:lnTo>
                        <a:lnTo>
                          <a:pt x="154" y="56"/>
                        </a:lnTo>
                        <a:lnTo>
                          <a:pt x="157" y="59"/>
                        </a:lnTo>
                        <a:lnTo>
                          <a:pt x="157" y="62"/>
                        </a:lnTo>
                        <a:lnTo>
                          <a:pt x="153" y="75"/>
                        </a:lnTo>
                        <a:lnTo>
                          <a:pt x="153" y="80"/>
                        </a:lnTo>
                        <a:lnTo>
                          <a:pt x="154" y="81"/>
                        </a:lnTo>
                        <a:lnTo>
                          <a:pt x="156" y="84"/>
                        </a:lnTo>
                        <a:lnTo>
                          <a:pt x="162" y="87"/>
                        </a:lnTo>
                        <a:lnTo>
                          <a:pt x="171" y="87"/>
                        </a:lnTo>
                        <a:lnTo>
                          <a:pt x="179" y="86"/>
                        </a:lnTo>
                        <a:lnTo>
                          <a:pt x="182" y="84"/>
                        </a:lnTo>
                        <a:lnTo>
                          <a:pt x="188" y="84"/>
                        </a:lnTo>
                        <a:lnTo>
                          <a:pt x="190" y="86"/>
                        </a:lnTo>
                        <a:lnTo>
                          <a:pt x="199" y="89"/>
                        </a:lnTo>
                        <a:lnTo>
                          <a:pt x="209" y="90"/>
                        </a:lnTo>
                        <a:lnTo>
                          <a:pt x="216" y="89"/>
                        </a:lnTo>
                        <a:lnTo>
                          <a:pt x="225" y="86"/>
                        </a:lnTo>
                        <a:lnTo>
                          <a:pt x="231" y="83"/>
                        </a:lnTo>
                        <a:lnTo>
                          <a:pt x="237" y="81"/>
                        </a:lnTo>
                        <a:lnTo>
                          <a:pt x="242" y="81"/>
                        </a:lnTo>
                        <a:lnTo>
                          <a:pt x="243" y="78"/>
                        </a:lnTo>
                        <a:lnTo>
                          <a:pt x="247" y="72"/>
                        </a:lnTo>
                        <a:lnTo>
                          <a:pt x="253" y="64"/>
                        </a:lnTo>
                        <a:lnTo>
                          <a:pt x="261" y="55"/>
                        </a:lnTo>
                        <a:lnTo>
                          <a:pt x="268" y="44"/>
                        </a:lnTo>
                        <a:lnTo>
                          <a:pt x="274" y="36"/>
                        </a:lnTo>
                        <a:lnTo>
                          <a:pt x="279" y="30"/>
                        </a:lnTo>
                        <a:lnTo>
                          <a:pt x="282" y="27"/>
                        </a:lnTo>
                        <a:lnTo>
                          <a:pt x="286" y="24"/>
                        </a:lnTo>
                        <a:lnTo>
                          <a:pt x="289" y="22"/>
                        </a:lnTo>
                        <a:lnTo>
                          <a:pt x="292" y="22"/>
                        </a:lnTo>
                        <a:lnTo>
                          <a:pt x="296" y="24"/>
                        </a:lnTo>
                        <a:lnTo>
                          <a:pt x="299" y="24"/>
                        </a:lnTo>
                        <a:lnTo>
                          <a:pt x="305" y="27"/>
                        </a:lnTo>
                        <a:lnTo>
                          <a:pt x="308" y="30"/>
                        </a:lnTo>
                        <a:lnTo>
                          <a:pt x="311" y="31"/>
                        </a:lnTo>
                        <a:lnTo>
                          <a:pt x="316" y="36"/>
                        </a:lnTo>
                        <a:lnTo>
                          <a:pt x="301" y="56"/>
                        </a:lnTo>
                        <a:lnTo>
                          <a:pt x="313" y="75"/>
                        </a:lnTo>
                        <a:lnTo>
                          <a:pt x="311" y="78"/>
                        </a:lnTo>
                        <a:lnTo>
                          <a:pt x="308" y="87"/>
                        </a:lnTo>
                        <a:lnTo>
                          <a:pt x="296" y="108"/>
                        </a:lnTo>
                        <a:lnTo>
                          <a:pt x="292" y="115"/>
                        </a:lnTo>
                        <a:lnTo>
                          <a:pt x="284" y="120"/>
                        </a:lnTo>
                        <a:lnTo>
                          <a:pt x="276" y="124"/>
                        </a:lnTo>
                        <a:lnTo>
                          <a:pt x="267" y="127"/>
                        </a:lnTo>
                        <a:lnTo>
                          <a:pt x="262" y="130"/>
                        </a:lnTo>
                        <a:lnTo>
                          <a:pt x="259" y="135"/>
                        </a:lnTo>
                        <a:lnTo>
                          <a:pt x="253" y="155"/>
                        </a:lnTo>
                        <a:lnTo>
                          <a:pt x="252" y="164"/>
                        </a:lnTo>
                        <a:lnTo>
                          <a:pt x="250" y="167"/>
                        </a:lnTo>
                        <a:lnTo>
                          <a:pt x="292" y="188"/>
                        </a:lnTo>
                        <a:lnTo>
                          <a:pt x="279" y="200"/>
                        </a:lnTo>
                        <a:lnTo>
                          <a:pt x="280" y="217"/>
                        </a:lnTo>
                        <a:lnTo>
                          <a:pt x="276" y="217"/>
                        </a:lnTo>
                        <a:lnTo>
                          <a:pt x="274" y="216"/>
                        </a:lnTo>
                        <a:lnTo>
                          <a:pt x="267" y="213"/>
                        </a:lnTo>
                        <a:lnTo>
                          <a:pt x="265" y="213"/>
                        </a:lnTo>
                        <a:lnTo>
                          <a:pt x="265" y="211"/>
                        </a:lnTo>
                        <a:lnTo>
                          <a:pt x="264" y="211"/>
                        </a:lnTo>
                        <a:lnTo>
                          <a:pt x="259" y="210"/>
                        </a:lnTo>
                        <a:lnTo>
                          <a:pt x="258" y="210"/>
                        </a:lnTo>
                        <a:lnTo>
                          <a:pt x="258" y="211"/>
                        </a:lnTo>
                        <a:lnTo>
                          <a:pt x="256" y="211"/>
                        </a:lnTo>
                        <a:lnTo>
                          <a:pt x="255" y="214"/>
                        </a:lnTo>
                        <a:lnTo>
                          <a:pt x="255" y="217"/>
                        </a:lnTo>
                        <a:lnTo>
                          <a:pt x="246" y="217"/>
                        </a:lnTo>
                        <a:lnTo>
                          <a:pt x="239" y="219"/>
                        </a:lnTo>
                        <a:lnTo>
                          <a:pt x="228" y="217"/>
                        </a:lnTo>
                        <a:lnTo>
                          <a:pt x="230" y="211"/>
                        </a:lnTo>
                        <a:lnTo>
                          <a:pt x="211" y="211"/>
                        </a:lnTo>
                        <a:lnTo>
                          <a:pt x="208" y="214"/>
                        </a:lnTo>
                        <a:lnTo>
                          <a:pt x="205" y="216"/>
                        </a:lnTo>
                        <a:lnTo>
                          <a:pt x="203" y="219"/>
                        </a:lnTo>
                        <a:lnTo>
                          <a:pt x="202" y="220"/>
                        </a:lnTo>
                        <a:lnTo>
                          <a:pt x="202" y="223"/>
                        </a:lnTo>
                        <a:lnTo>
                          <a:pt x="200" y="223"/>
                        </a:lnTo>
                        <a:lnTo>
                          <a:pt x="199" y="225"/>
                        </a:lnTo>
                        <a:lnTo>
                          <a:pt x="193" y="228"/>
                        </a:lnTo>
                        <a:lnTo>
                          <a:pt x="188" y="229"/>
                        </a:lnTo>
                        <a:lnTo>
                          <a:pt x="184" y="229"/>
                        </a:lnTo>
                        <a:lnTo>
                          <a:pt x="181" y="231"/>
                        </a:lnTo>
                        <a:lnTo>
                          <a:pt x="178" y="231"/>
                        </a:lnTo>
                        <a:lnTo>
                          <a:pt x="176" y="229"/>
                        </a:lnTo>
                        <a:lnTo>
                          <a:pt x="178" y="228"/>
                        </a:lnTo>
                        <a:lnTo>
                          <a:pt x="178" y="223"/>
                        </a:lnTo>
                        <a:lnTo>
                          <a:pt x="179" y="220"/>
                        </a:lnTo>
                        <a:lnTo>
                          <a:pt x="179" y="216"/>
                        </a:lnTo>
                        <a:lnTo>
                          <a:pt x="181" y="211"/>
                        </a:lnTo>
                        <a:lnTo>
                          <a:pt x="181" y="207"/>
                        </a:lnTo>
                        <a:lnTo>
                          <a:pt x="176" y="198"/>
                        </a:lnTo>
                        <a:lnTo>
                          <a:pt x="174" y="198"/>
                        </a:lnTo>
                        <a:lnTo>
                          <a:pt x="172" y="197"/>
                        </a:lnTo>
                        <a:lnTo>
                          <a:pt x="169" y="197"/>
                        </a:lnTo>
                        <a:lnTo>
                          <a:pt x="169" y="195"/>
                        </a:lnTo>
                        <a:lnTo>
                          <a:pt x="168" y="194"/>
                        </a:lnTo>
                        <a:lnTo>
                          <a:pt x="168" y="186"/>
                        </a:lnTo>
                        <a:lnTo>
                          <a:pt x="165" y="183"/>
                        </a:lnTo>
                        <a:lnTo>
                          <a:pt x="162" y="182"/>
                        </a:lnTo>
                        <a:lnTo>
                          <a:pt x="160" y="180"/>
                        </a:lnTo>
                        <a:lnTo>
                          <a:pt x="157" y="180"/>
                        </a:lnTo>
                        <a:lnTo>
                          <a:pt x="157" y="179"/>
                        </a:lnTo>
                        <a:lnTo>
                          <a:pt x="154" y="173"/>
                        </a:lnTo>
                        <a:lnTo>
                          <a:pt x="153" y="173"/>
                        </a:lnTo>
                        <a:lnTo>
                          <a:pt x="147" y="179"/>
                        </a:lnTo>
                        <a:lnTo>
                          <a:pt x="144" y="185"/>
                        </a:lnTo>
                        <a:lnTo>
                          <a:pt x="142" y="186"/>
                        </a:lnTo>
                        <a:lnTo>
                          <a:pt x="142" y="183"/>
                        </a:lnTo>
                        <a:lnTo>
                          <a:pt x="137" y="177"/>
                        </a:lnTo>
                        <a:lnTo>
                          <a:pt x="131" y="175"/>
                        </a:lnTo>
                        <a:lnTo>
                          <a:pt x="126" y="172"/>
                        </a:lnTo>
                        <a:lnTo>
                          <a:pt x="125" y="170"/>
                        </a:lnTo>
                        <a:lnTo>
                          <a:pt x="122" y="169"/>
                        </a:lnTo>
                        <a:lnTo>
                          <a:pt x="120" y="169"/>
                        </a:lnTo>
                        <a:lnTo>
                          <a:pt x="117" y="170"/>
                        </a:lnTo>
                        <a:lnTo>
                          <a:pt x="110" y="170"/>
                        </a:lnTo>
                        <a:lnTo>
                          <a:pt x="104" y="172"/>
                        </a:lnTo>
                        <a:lnTo>
                          <a:pt x="94" y="172"/>
                        </a:lnTo>
                        <a:lnTo>
                          <a:pt x="89" y="170"/>
                        </a:lnTo>
                        <a:lnTo>
                          <a:pt x="80" y="166"/>
                        </a:lnTo>
                        <a:lnTo>
                          <a:pt x="77" y="166"/>
                        </a:lnTo>
                        <a:lnTo>
                          <a:pt x="74" y="164"/>
                        </a:lnTo>
                        <a:lnTo>
                          <a:pt x="71" y="166"/>
                        </a:lnTo>
                        <a:lnTo>
                          <a:pt x="68" y="166"/>
                        </a:lnTo>
                        <a:lnTo>
                          <a:pt x="66" y="167"/>
                        </a:lnTo>
                        <a:lnTo>
                          <a:pt x="63" y="167"/>
                        </a:lnTo>
                        <a:lnTo>
                          <a:pt x="61" y="169"/>
                        </a:lnTo>
                        <a:lnTo>
                          <a:pt x="60" y="169"/>
                        </a:lnTo>
                        <a:lnTo>
                          <a:pt x="60" y="157"/>
                        </a:lnTo>
                        <a:lnTo>
                          <a:pt x="57" y="157"/>
                        </a:lnTo>
                        <a:lnTo>
                          <a:pt x="57" y="142"/>
                        </a:lnTo>
                        <a:lnTo>
                          <a:pt x="55" y="123"/>
                        </a:lnTo>
                        <a:lnTo>
                          <a:pt x="52" y="108"/>
                        </a:lnTo>
                        <a:lnTo>
                          <a:pt x="48" y="101"/>
                        </a:lnTo>
                        <a:lnTo>
                          <a:pt x="37" y="93"/>
                        </a:lnTo>
                        <a:lnTo>
                          <a:pt x="26" y="86"/>
                        </a:lnTo>
                        <a:lnTo>
                          <a:pt x="15" y="80"/>
                        </a:lnTo>
                        <a:lnTo>
                          <a:pt x="8" y="77"/>
                        </a:lnTo>
                        <a:lnTo>
                          <a:pt x="3" y="71"/>
                        </a:lnTo>
                        <a:lnTo>
                          <a:pt x="2" y="64"/>
                        </a:lnTo>
                        <a:lnTo>
                          <a:pt x="0" y="53"/>
                        </a:lnTo>
                        <a:lnTo>
                          <a:pt x="0" y="43"/>
                        </a:lnTo>
                        <a:lnTo>
                          <a:pt x="3" y="44"/>
                        </a:lnTo>
                        <a:lnTo>
                          <a:pt x="18" y="50"/>
                        </a:lnTo>
                        <a:lnTo>
                          <a:pt x="26" y="52"/>
                        </a:lnTo>
                        <a:lnTo>
                          <a:pt x="34" y="53"/>
                        </a:lnTo>
                        <a:lnTo>
                          <a:pt x="42" y="50"/>
                        </a:lnTo>
                        <a:lnTo>
                          <a:pt x="52" y="46"/>
                        </a:lnTo>
                        <a:lnTo>
                          <a:pt x="57" y="43"/>
                        </a:lnTo>
                        <a:lnTo>
                          <a:pt x="60" y="38"/>
                        </a:lnTo>
                        <a:lnTo>
                          <a:pt x="61" y="34"/>
                        </a:lnTo>
                        <a:lnTo>
                          <a:pt x="61" y="25"/>
                        </a:lnTo>
                        <a:lnTo>
                          <a:pt x="63" y="22"/>
                        </a:lnTo>
                        <a:lnTo>
                          <a:pt x="66" y="21"/>
                        </a:lnTo>
                        <a:lnTo>
                          <a:pt x="67" y="18"/>
                        </a:lnTo>
                        <a:lnTo>
                          <a:pt x="70" y="15"/>
                        </a:lnTo>
                        <a:lnTo>
                          <a:pt x="73" y="13"/>
                        </a:lnTo>
                        <a:lnTo>
                          <a:pt x="76" y="10"/>
                        </a:lnTo>
                        <a:lnTo>
                          <a:pt x="82" y="10"/>
                        </a:lnTo>
                        <a:lnTo>
                          <a:pt x="91" y="13"/>
                        </a:lnTo>
                        <a:lnTo>
                          <a:pt x="97" y="16"/>
                        </a:lnTo>
                        <a:lnTo>
                          <a:pt x="98" y="18"/>
                        </a:lnTo>
                        <a:lnTo>
                          <a:pt x="100" y="18"/>
                        </a:lnTo>
                        <a:lnTo>
                          <a:pt x="134" y="0"/>
                        </a:lnTo>
                        <a:close/>
                      </a:path>
                    </a:pathLst>
                  </a:custGeom>
                  <a:solidFill>
                    <a:srgbClr val="85C858"/>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900" kern="0" dirty="0">
                        <a:solidFill>
                          <a:srgbClr val="000000"/>
                        </a:solidFill>
                        <a:latin typeface="Calibri"/>
                        <a:ea typeface="MS PGothic" charset="0"/>
                        <a:cs typeface="Latha" panose="020B0604020202020204" pitchFamily="34" charset="0"/>
                      </a:rPr>
                      <a:t>  </a:t>
                    </a:r>
                  </a:p>
                </p:txBody>
              </p:sp>
              <p:sp>
                <p:nvSpPr>
                  <p:cNvPr id="122" name="Freeform 302" descr="© INSCALE GmbH, 21.06.2010"/>
                  <p:cNvSpPr>
                    <a:spLocks noChangeAspect="1"/>
                  </p:cNvSpPr>
                  <p:nvPr/>
                </p:nvSpPr>
                <p:spPr bwMode="auto">
                  <a:xfrm>
                    <a:off x="3465481" y="3533172"/>
                    <a:ext cx="264951" cy="267725"/>
                  </a:xfrm>
                  <a:custGeom>
                    <a:avLst/>
                    <a:gdLst>
                      <a:gd name="T0" fmla="*/ 2147483646 w 276"/>
                      <a:gd name="T1" fmla="*/ 2147483646 h 280"/>
                      <a:gd name="T2" fmla="*/ 2147483646 w 276"/>
                      <a:gd name="T3" fmla="*/ 2147483646 h 280"/>
                      <a:gd name="T4" fmla="*/ 2147483646 w 276"/>
                      <a:gd name="T5" fmla="*/ 2147483646 h 280"/>
                      <a:gd name="T6" fmla="*/ 2147483646 w 276"/>
                      <a:gd name="T7" fmla="*/ 2147483646 h 280"/>
                      <a:gd name="T8" fmla="*/ 2147483646 w 276"/>
                      <a:gd name="T9" fmla="*/ 2147483646 h 280"/>
                      <a:gd name="T10" fmla="*/ 2147483646 w 276"/>
                      <a:gd name="T11" fmla="*/ 2147483646 h 280"/>
                      <a:gd name="T12" fmla="*/ 2147483646 w 276"/>
                      <a:gd name="T13" fmla="*/ 2147483646 h 280"/>
                      <a:gd name="T14" fmla="*/ 2147483646 w 276"/>
                      <a:gd name="T15" fmla="*/ 2147483646 h 280"/>
                      <a:gd name="T16" fmla="*/ 2147483646 w 276"/>
                      <a:gd name="T17" fmla="*/ 2147483646 h 280"/>
                      <a:gd name="T18" fmla="*/ 2147483646 w 276"/>
                      <a:gd name="T19" fmla="*/ 2147483646 h 280"/>
                      <a:gd name="T20" fmla="*/ 2147483646 w 276"/>
                      <a:gd name="T21" fmla="*/ 2147483646 h 280"/>
                      <a:gd name="T22" fmla="*/ 2147483646 w 276"/>
                      <a:gd name="T23" fmla="*/ 2147483646 h 280"/>
                      <a:gd name="T24" fmla="*/ 2147483646 w 276"/>
                      <a:gd name="T25" fmla="*/ 2147483646 h 280"/>
                      <a:gd name="T26" fmla="*/ 2147483646 w 276"/>
                      <a:gd name="T27" fmla="*/ 2147483646 h 280"/>
                      <a:gd name="T28" fmla="*/ 2147483646 w 276"/>
                      <a:gd name="T29" fmla="*/ 2147483646 h 280"/>
                      <a:gd name="T30" fmla="*/ 2147483646 w 276"/>
                      <a:gd name="T31" fmla="*/ 2147483646 h 280"/>
                      <a:gd name="T32" fmla="*/ 2147483646 w 276"/>
                      <a:gd name="T33" fmla="*/ 2147483646 h 280"/>
                      <a:gd name="T34" fmla="*/ 2147483646 w 276"/>
                      <a:gd name="T35" fmla="*/ 2147483646 h 280"/>
                      <a:gd name="T36" fmla="*/ 2147483646 w 276"/>
                      <a:gd name="T37" fmla="*/ 2147483646 h 280"/>
                      <a:gd name="T38" fmla="*/ 2147483646 w 276"/>
                      <a:gd name="T39" fmla="*/ 2147483646 h 280"/>
                      <a:gd name="T40" fmla="*/ 2147483646 w 276"/>
                      <a:gd name="T41" fmla="*/ 2147483646 h 280"/>
                      <a:gd name="T42" fmla="*/ 2147483646 w 276"/>
                      <a:gd name="T43" fmla="*/ 2147483646 h 280"/>
                      <a:gd name="T44" fmla="*/ 2147483646 w 276"/>
                      <a:gd name="T45" fmla="*/ 2147483646 h 280"/>
                      <a:gd name="T46" fmla="*/ 2147483646 w 276"/>
                      <a:gd name="T47" fmla="*/ 2147483646 h 280"/>
                      <a:gd name="T48" fmla="*/ 2147483646 w 276"/>
                      <a:gd name="T49" fmla="*/ 2147483646 h 280"/>
                      <a:gd name="T50" fmla="*/ 2147483646 w 276"/>
                      <a:gd name="T51" fmla="*/ 2147483646 h 280"/>
                      <a:gd name="T52" fmla="*/ 2147483646 w 276"/>
                      <a:gd name="T53" fmla="*/ 2147483646 h 280"/>
                      <a:gd name="T54" fmla="*/ 2147483646 w 276"/>
                      <a:gd name="T55" fmla="*/ 2147483646 h 280"/>
                      <a:gd name="T56" fmla="*/ 2147483646 w 276"/>
                      <a:gd name="T57" fmla="*/ 2147483646 h 280"/>
                      <a:gd name="T58" fmla="*/ 2147483646 w 276"/>
                      <a:gd name="T59" fmla="*/ 2147483646 h 280"/>
                      <a:gd name="T60" fmla="*/ 2147483646 w 276"/>
                      <a:gd name="T61" fmla="*/ 2147483646 h 280"/>
                      <a:gd name="T62" fmla="*/ 2147483646 w 276"/>
                      <a:gd name="T63" fmla="*/ 2147483646 h 280"/>
                      <a:gd name="T64" fmla="*/ 2147483646 w 276"/>
                      <a:gd name="T65" fmla="*/ 2147483646 h 280"/>
                      <a:gd name="T66" fmla="*/ 2147483646 w 276"/>
                      <a:gd name="T67" fmla="*/ 2147483646 h 280"/>
                      <a:gd name="T68" fmla="*/ 2147483646 w 276"/>
                      <a:gd name="T69" fmla="*/ 2147483646 h 280"/>
                      <a:gd name="T70" fmla="*/ 2147483646 w 276"/>
                      <a:gd name="T71" fmla="*/ 2147483646 h 280"/>
                      <a:gd name="T72" fmla="*/ 2147483646 w 276"/>
                      <a:gd name="T73" fmla="*/ 2147483646 h 280"/>
                      <a:gd name="T74" fmla="*/ 2147483646 w 276"/>
                      <a:gd name="T75" fmla="*/ 2147483646 h 280"/>
                      <a:gd name="T76" fmla="*/ 2147483646 w 276"/>
                      <a:gd name="T77" fmla="*/ 2147483646 h 280"/>
                      <a:gd name="T78" fmla="*/ 2147483646 w 276"/>
                      <a:gd name="T79" fmla="*/ 2147483646 h 280"/>
                      <a:gd name="T80" fmla="*/ 2147483646 w 276"/>
                      <a:gd name="T81" fmla="*/ 2147483646 h 280"/>
                      <a:gd name="T82" fmla="*/ 2147483646 w 276"/>
                      <a:gd name="T83" fmla="*/ 2147483646 h 280"/>
                      <a:gd name="T84" fmla="*/ 2147483646 w 276"/>
                      <a:gd name="T85" fmla="*/ 2147483646 h 280"/>
                      <a:gd name="T86" fmla="*/ 2147483646 w 276"/>
                      <a:gd name="T87" fmla="*/ 2147483646 h 280"/>
                      <a:gd name="T88" fmla="*/ 2147483646 w 276"/>
                      <a:gd name="T89" fmla="*/ 2147483646 h 280"/>
                      <a:gd name="T90" fmla="*/ 2147483646 w 276"/>
                      <a:gd name="T91" fmla="*/ 2147483646 h 280"/>
                      <a:gd name="T92" fmla="*/ 2147483646 w 276"/>
                      <a:gd name="T93" fmla="*/ 2147483646 h 280"/>
                      <a:gd name="T94" fmla="*/ 2147483646 w 276"/>
                      <a:gd name="T95" fmla="*/ 2147483646 h 280"/>
                      <a:gd name="T96" fmla="*/ 2147483646 w 276"/>
                      <a:gd name="T97" fmla="*/ 2147483646 h 280"/>
                      <a:gd name="T98" fmla="*/ 2147483646 w 276"/>
                      <a:gd name="T99" fmla="*/ 2147483646 h 280"/>
                      <a:gd name="T100" fmla="*/ 2147483646 w 276"/>
                      <a:gd name="T101" fmla="*/ 2147483646 h 280"/>
                      <a:gd name="T102" fmla="*/ 2147483646 w 276"/>
                      <a:gd name="T103" fmla="*/ 2147483646 h 280"/>
                      <a:gd name="T104" fmla="*/ 2147483646 w 276"/>
                      <a:gd name="T105" fmla="*/ 2147483646 h 280"/>
                      <a:gd name="T106" fmla="*/ 2147483646 w 276"/>
                      <a:gd name="T107" fmla="*/ 2147483646 h 280"/>
                      <a:gd name="T108" fmla="*/ 2147483646 w 276"/>
                      <a:gd name="T109" fmla="*/ 2147483646 h 280"/>
                      <a:gd name="T110" fmla="*/ 2147483646 w 276"/>
                      <a:gd name="T111" fmla="*/ 2147483646 h 280"/>
                      <a:gd name="T112" fmla="*/ 2147483646 w 276"/>
                      <a:gd name="T113" fmla="*/ 2147483646 h 2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6"/>
                      <a:gd name="T172" fmla="*/ 0 h 280"/>
                      <a:gd name="T173" fmla="*/ 276 w 276"/>
                      <a:gd name="T174" fmla="*/ 280 h 28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6" h="280">
                        <a:moveTo>
                          <a:pt x="68" y="0"/>
                        </a:moveTo>
                        <a:lnTo>
                          <a:pt x="74" y="0"/>
                        </a:lnTo>
                        <a:lnTo>
                          <a:pt x="75" y="2"/>
                        </a:lnTo>
                        <a:lnTo>
                          <a:pt x="78" y="3"/>
                        </a:lnTo>
                        <a:lnTo>
                          <a:pt x="80" y="3"/>
                        </a:lnTo>
                        <a:lnTo>
                          <a:pt x="83" y="6"/>
                        </a:lnTo>
                        <a:lnTo>
                          <a:pt x="86" y="6"/>
                        </a:lnTo>
                        <a:lnTo>
                          <a:pt x="89" y="8"/>
                        </a:lnTo>
                        <a:lnTo>
                          <a:pt x="96" y="8"/>
                        </a:lnTo>
                        <a:lnTo>
                          <a:pt x="97" y="9"/>
                        </a:lnTo>
                        <a:lnTo>
                          <a:pt x="97" y="12"/>
                        </a:lnTo>
                        <a:lnTo>
                          <a:pt x="99" y="14"/>
                        </a:lnTo>
                        <a:lnTo>
                          <a:pt x="121" y="14"/>
                        </a:lnTo>
                        <a:lnTo>
                          <a:pt x="123" y="16"/>
                        </a:lnTo>
                        <a:lnTo>
                          <a:pt x="124" y="18"/>
                        </a:lnTo>
                        <a:lnTo>
                          <a:pt x="126" y="21"/>
                        </a:lnTo>
                        <a:lnTo>
                          <a:pt x="127" y="22"/>
                        </a:lnTo>
                        <a:lnTo>
                          <a:pt x="128" y="25"/>
                        </a:lnTo>
                        <a:lnTo>
                          <a:pt x="133" y="27"/>
                        </a:lnTo>
                        <a:lnTo>
                          <a:pt x="136" y="30"/>
                        </a:lnTo>
                        <a:lnTo>
                          <a:pt x="145" y="33"/>
                        </a:lnTo>
                        <a:lnTo>
                          <a:pt x="146" y="34"/>
                        </a:lnTo>
                        <a:lnTo>
                          <a:pt x="148" y="34"/>
                        </a:lnTo>
                        <a:lnTo>
                          <a:pt x="154" y="28"/>
                        </a:lnTo>
                        <a:lnTo>
                          <a:pt x="158" y="25"/>
                        </a:lnTo>
                        <a:lnTo>
                          <a:pt x="161" y="22"/>
                        </a:lnTo>
                        <a:lnTo>
                          <a:pt x="165" y="19"/>
                        </a:lnTo>
                        <a:lnTo>
                          <a:pt x="168" y="16"/>
                        </a:lnTo>
                        <a:lnTo>
                          <a:pt x="183" y="16"/>
                        </a:lnTo>
                        <a:lnTo>
                          <a:pt x="189" y="19"/>
                        </a:lnTo>
                        <a:lnTo>
                          <a:pt x="191" y="21"/>
                        </a:lnTo>
                        <a:lnTo>
                          <a:pt x="192" y="21"/>
                        </a:lnTo>
                        <a:lnTo>
                          <a:pt x="202" y="16"/>
                        </a:lnTo>
                        <a:lnTo>
                          <a:pt x="202" y="19"/>
                        </a:lnTo>
                        <a:lnTo>
                          <a:pt x="200" y="21"/>
                        </a:lnTo>
                        <a:lnTo>
                          <a:pt x="198" y="21"/>
                        </a:lnTo>
                        <a:lnTo>
                          <a:pt x="197" y="22"/>
                        </a:lnTo>
                        <a:lnTo>
                          <a:pt x="194" y="24"/>
                        </a:lnTo>
                        <a:lnTo>
                          <a:pt x="192" y="25"/>
                        </a:lnTo>
                        <a:lnTo>
                          <a:pt x="191" y="28"/>
                        </a:lnTo>
                        <a:lnTo>
                          <a:pt x="189" y="30"/>
                        </a:lnTo>
                        <a:lnTo>
                          <a:pt x="189" y="31"/>
                        </a:lnTo>
                        <a:lnTo>
                          <a:pt x="188" y="34"/>
                        </a:lnTo>
                        <a:lnTo>
                          <a:pt x="186" y="42"/>
                        </a:lnTo>
                        <a:lnTo>
                          <a:pt x="183" y="49"/>
                        </a:lnTo>
                        <a:lnTo>
                          <a:pt x="182" y="56"/>
                        </a:lnTo>
                        <a:lnTo>
                          <a:pt x="182" y="59"/>
                        </a:lnTo>
                        <a:lnTo>
                          <a:pt x="188" y="62"/>
                        </a:lnTo>
                        <a:lnTo>
                          <a:pt x="189" y="64"/>
                        </a:lnTo>
                        <a:lnTo>
                          <a:pt x="195" y="64"/>
                        </a:lnTo>
                        <a:lnTo>
                          <a:pt x="195" y="65"/>
                        </a:lnTo>
                        <a:lnTo>
                          <a:pt x="194" y="67"/>
                        </a:lnTo>
                        <a:lnTo>
                          <a:pt x="194" y="84"/>
                        </a:lnTo>
                        <a:lnTo>
                          <a:pt x="195" y="87"/>
                        </a:lnTo>
                        <a:lnTo>
                          <a:pt x="204" y="96"/>
                        </a:lnTo>
                        <a:lnTo>
                          <a:pt x="208" y="104"/>
                        </a:lnTo>
                        <a:lnTo>
                          <a:pt x="213" y="110"/>
                        </a:lnTo>
                        <a:lnTo>
                          <a:pt x="216" y="114"/>
                        </a:lnTo>
                        <a:lnTo>
                          <a:pt x="216" y="120"/>
                        </a:lnTo>
                        <a:lnTo>
                          <a:pt x="213" y="126"/>
                        </a:lnTo>
                        <a:lnTo>
                          <a:pt x="213" y="127"/>
                        </a:lnTo>
                        <a:lnTo>
                          <a:pt x="214" y="130"/>
                        </a:lnTo>
                        <a:lnTo>
                          <a:pt x="216" y="136"/>
                        </a:lnTo>
                        <a:lnTo>
                          <a:pt x="220" y="142"/>
                        </a:lnTo>
                        <a:lnTo>
                          <a:pt x="222" y="148"/>
                        </a:lnTo>
                        <a:lnTo>
                          <a:pt x="223" y="151"/>
                        </a:lnTo>
                        <a:lnTo>
                          <a:pt x="225" y="151"/>
                        </a:lnTo>
                        <a:lnTo>
                          <a:pt x="229" y="155"/>
                        </a:lnTo>
                        <a:lnTo>
                          <a:pt x="232" y="157"/>
                        </a:lnTo>
                        <a:lnTo>
                          <a:pt x="236" y="161"/>
                        </a:lnTo>
                        <a:lnTo>
                          <a:pt x="235" y="164"/>
                        </a:lnTo>
                        <a:lnTo>
                          <a:pt x="234" y="166"/>
                        </a:lnTo>
                        <a:lnTo>
                          <a:pt x="232" y="169"/>
                        </a:lnTo>
                        <a:lnTo>
                          <a:pt x="231" y="170"/>
                        </a:lnTo>
                        <a:lnTo>
                          <a:pt x="228" y="172"/>
                        </a:lnTo>
                        <a:lnTo>
                          <a:pt x="229" y="172"/>
                        </a:lnTo>
                        <a:lnTo>
                          <a:pt x="231" y="173"/>
                        </a:lnTo>
                        <a:lnTo>
                          <a:pt x="234" y="173"/>
                        </a:lnTo>
                        <a:lnTo>
                          <a:pt x="236" y="175"/>
                        </a:lnTo>
                        <a:lnTo>
                          <a:pt x="239" y="175"/>
                        </a:lnTo>
                        <a:lnTo>
                          <a:pt x="241" y="178"/>
                        </a:lnTo>
                        <a:lnTo>
                          <a:pt x="242" y="179"/>
                        </a:lnTo>
                        <a:lnTo>
                          <a:pt x="245" y="184"/>
                        </a:lnTo>
                        <a:lnTo>
                          <a:pt x="250" y="192"/>
                        </a:lnTo>
                        <a:lnTo>
                          <a:pt x="250" y="197"/>
                        </a:lnTo>
                        <a:lnTo>
                          <a:pt x="248" y="201"/>
                        </a:lnTo>
                        <a:lnTo>
                          <a:pt x="248" y="204"/>
                        </a:lnTo>
                        <a:lnTo>
                          <a:pt x="256" y="209"/>
                        </a:lnTo>
                        <a:lnTo>
                          <a:pt x="262" y="215"/>
                        </a:lnTo>
                        <a:lnTo>
                          <a:pt x="266" y="221"/>
                        </a:lnTo>
                        <a:lnTo>
                          <a:pt x="268" y="226"/>
                        </a:lnTo>
                        <a:lnTo>
                          <a:pt x="269" y="231"/>
                        </a:lnTo>
                        <a:lnTo>
                          <a:pt x="272" y="232"/>
                        </a:lnTo>
                        <a:lnTo>
                          <a:pt x="273" y="234"/>
                        </a:lnTo>
                        <a:lnTo>
                          <a:pt x="276" y="235"/>
                        </a:lnTo>
                        <a:lnTo>
                          <a:pt x="275" y="237"/>
                        </a:lnTo>
                        <a:lnTo>
                          <a:pt x="273" y="240"/>
                        </a:lnTo>
                        <a:lnTo>
                          <a:pt x="266" y="247"/>
                        </a:lnTo>
                        <a:lnTo>
                          <a:pt x="263" y="253"/>
                        </a:lnTo>
                        <a:lnTo>
                          <a:pt x="262" y="260"/>
                        </a:lnTo>
                        <a:lnTo>
                          <a:pt x="262" y="271"/>
                        </a:lnTo>
                        <a:lnTo>
                          <a:pt x="259" y="272"/>
                        </a:lnTo>
                        <a:lnTo>
                          <a:pt x="257" y="274"/>
                        </a:lnTo>
                        <a:lnTo>
                          <a:pt x="254" y="275"/>
                        </a:lnTo>
                        <a:lnTo>
                          <a:pt x="241" y="280"/>
                        </a:lnTo>
                        <a:lnTo>
                          <a:pt x="223" y="280"/>
                        </a:lnTo>
                        <a:lnTo>
                          <a:pt x="223" y="274"/>
                        </a:lnTo>
                        <a:lnTo>
                          <a:pt x="225" y="269"/>
                        </a:lnTo>
                        <a:lnTo>
                          <a:pt x="225" y="263"/>
                        </a:lnTo>
                        <a:lnTo>
                          <a:pt x="226" y="260"/>
                        </a:lnTo>
                        <a:lnTo>
                          <a:pt x="229" y="259"/>
                        </a:lnTo>
                        <a:lnTo>
                          <a:pt x="231" y="258"/>
                        </a:lnTo>
                        <a:lnTo>
                          <a:pt x="222" y="258"/>
                        </a:lnTo>
                        <a:lnTo>
                          <a:pt x="216" y="252"/>
                        </a:lnTo>
                        <a:lnTo>
                          <a:pt x="213" y="250"/>
                        </a:lnTo>
                        <a:lnTo>
                          <a:pt x="208" y="249"/>
                        </a:lnTo>
                        <a:lnTo>
                          <a:pt x="202" y="246"/>
                        </a:lnTo>
                        <a:lnTo>
                          <a:pt x="200" y="246"/>
                        </a:lnTo>
                        <a:lnTo>
                          <a:pt x="197" y="244"/>
                        </a:lnTo>
                        <a:lnTo>
                          <a:pt x="195" y="243"/>
                        </a:lnTo>
                        <a:lnTo>
                          <a:pt x="194" y="243"/>
                        </a:lnTo>
                        <a:lnTo>
                          <a:pt x="186" y="253"/>
                        </a:lnTo>
                        <a:lnTo>
                          <a:pt x="185" y="252"/>
                        </a:lnTo>
                        <a:lnTo>
                          <a:pt x="183" y="252"/>
                        </a:lnTo>
                        <a:lnTo>
                          <a:pt x="182" y="250"/>
                        </a:lnTo>
                        <a:lnTo>
                          <a:pt x="177" y="247"/>
                        </a:lnTo>
                        <a:lnTo>
                          <a:pt x="168" y="244"/>
                        </a:lnTo>
                        <a:lnTo>
                          <a:pt x="148" y="244"/>
                        </a:lnTo>
                        <a:lnTo>
                          <a:pt x="145" y="243"/>
                        </a:lnTo>
                        <a:lnTo>
                          <a:pt x="142" y="240"/>
                        </a:lnTo>
                        <a:lnTo>
                          <a:pt x="139" y="238"/>
                        </a:lnTo>
                        <a:lnTo>
                          <a:pt x="136" y="238"/>
                        </a:lnTo>
                        <a:lnTo>
                          <a:pt x="130" y="241"/>
                        </a:lnTo>
                        <a:lnTo>
                          <a:pt x="127" y="247"/>
                        </a:lnTo>
                        <a:lnTo>
                          <a:pt x="127" y="252"/>
                        </a:lnTo>
                        <a:lnTo>
                          <a:pt x="126" y="250"/>
                        </a:lnTo>
                        <a:lnTo>
                          <a:pt x="120" y="250"/>
                        </a:lnTo>
                        <a:lnTo>
                          <a:pt x="117" y="249"/>
                        </a:lnTo>
                        <a:lnTo>
                          <a:pt x="103" y="249"/>
                        </a:lnTo>
                        <a:lnTo>
                          <a:pt x="103" y="241"/>
                        </a:lnTo>
                        <a:lnTo>
                          <a:pt x="97" y="234"/>
                        </a:lnTo>
                        <a:lnTo>
                          <a:pt x="93" y="238"/>
                        </a:lnTo>
                        <a:lnTo>
                          <a:pt x="83" y="234"/>
                        </a:lnTo>
                        <a:lnTo>
                          <a:pt x="81" y="225"/>
                        </a:lnTo>
                        <a:lnTo>
                          <a:pt x="57" y="237"/>
                        </a:lnTo>
                        <a:lnTo>
                          <a:pt x="53" y="229"/>
                        </a:lnTo>
                        <a:lnTo>
                          <a:pt x="46" y="226"/>
                        </a:lnTo>
                        <a:lnTo>
                          <a:pt x="43" y="221"/>
                        </a:lnTo>
                        <a:lnTo>
                          <a:pt x="37" y="221"/>
                        </a:lnTo>
                        <a:lnTo>
                          <a:pt x="31" y="198"/>
                        </a:lnTo>
                        <a:lnTo>
                          <a:pt x="25" y="195"/>
                        </a:lnTo>
                        <a:lnTo>
                          <a:pt x="26" y="187"/>
                        </a:lnTo>
                        <a:lnTo>
                          <a:pt x="26" y="185"/>
                        </a:lnTo>
                        <a:lnTo>
                          <a:pt x="25" y="184"/>
                        </a:lnTo>
                        <a:lnTo>
                          <a:pt x="22" y="178"/>
                        </a:lnTo>
                        <a:lnTo>
                          <a:pt x="16" y="172"/>
                        </a:lnTo>
                        <a:lnTo>
                          <a:pt x="10" y="172"/>
                        </a:lnTo>
                        <a:lnTo>
                          <a:pt x="7" y="169"/>
                        </a:lnTo>
                        <a:lnTo>
                          <a:pt x="6" y="166"/>
                        </a:lnTo>
                        <a:lnTo>
                          <a:pt x="1" y="161"/>
                        </a:lnTo>
                        <a:lnTo>
                          <a:pt x="0" y="158"/>
                        </a:lnTo>
                        <a:lnTo>
                          <a:pt x="0" y="154"/>
                        </a:lnTo>
                        <a:lnTo>
                          <a:pt x="3" y="151"/>
                        </a:lnTo>
                        <a:lnTo>
                          <a:pt x="7" y="151"/>
                        </a:lnTo>
                        <a:lnTo>
                          <a:pt x="12" y="147"/>
                        </a:lnTo>
                        <a:lnTo>
                          <a:pt x="10" y="144"/>
                        </a:lnTo>
                        <a:lnTo>
                          <a:pt x="9" y="142"/>
                        </a:lnTo>
                        <a:lnTo>
                          <a:pt x="9" y="141"/>
                        </a:lnTo>
                        <a:lnTo>
                          <a:pt x="10" y="141"/>
                        </a:lnTo>
                        <a:lnTo>
                          <a:pt x="15" y="136"/>
                        </a:lnTo>
                        <a:lnTo>
                          <a:pt x="21" y="136"/>
                        </a:lnTo>
                        <a:lnTo>
                          <a:pt x="23" y="138"/>
                        </a:lnTo>
                        <a:lnTo>
                          <a:pt x="25" y="139"/>
                        </a:lnTo>
                        <a:lnTo>
                          <a:pt x="28" y="141"/>
                        </a:lnTo>
                        <a:lnTo>
                          <a:pt x="34" y="141"/>
                        </a:lnTo>
                        <a:lnTo>
                          <a:pt x="35" y="139"/>
                        </a:lnTo>
                        <a:lnTo>
                          <a:pt x="35" y="136"/>
                        </a:lnTo>
                        <a:lnTo>
                          <a:pt x="29" y="130"/>
                        </a:lnTo>
                        <a:lnTo>
                          <a:pt x="29" y="123"/>
                        </a:lnTo>
                        <a:lnTo>
                          <a:pt x="31" y="121"/>
                        </a:lnTo>
                        <a:lnTo>
                          <a:pt x="34" y="120"/>
                        </a:lnTo>
                        <a:lnTo>
                          <a:pt x="40" y="120"/>
                        </a:lnTo>
                        <a:lnTo>
                          <a:pt x="44" y="124"/>
                        </a:lnTo>
                        <a:lnTo>
                          <a:pt x="47" y="126"/>
                        </a:lnTo>
                        <a:lnTo>
                          <a:pt x="53" y="126"/>
                        </a:lnTo>
                        <a:lnTo>
                          <a:pt x="56" y="123"/>
                        </a:lnTo>
                        <a:lnTo>
                          <a:pt x="56" y="120"/>
                        </a:lnTo>
                        <a:lnTo>
                          <a:pt x="55" y="119"/>
                        </a:lnTo>
                        <a:lnTo>
                          <a:pt x="56" y="117"/>
                        </a:lnTo>
                        <a:lnTo>
                          <a:pt x="60" y="108"/>
                        </a:lnTo>
                        <a:lnTo>
                          <a:pt x="60" y="105"/>
                        </a:lnTo>
                        <a:lnTo>
                          <a:pt x="56" y="101"/>
                        </a:lnTo>
                        <a:lnTo>
                          <a:pt x="55" y="101"/>
                        </a:lnTo>
                        <a:lnTo>
                          <a:pt x="52" y="99"/>
                        </a:lnTo>
                        <a:lnTo>
                          <a:pt x="52" y="89"/>
                        </a:lnTo>
                        <a:lnTo>
                          <a:pt x="50" y="86"/>
                        </a:lnTo>
                        <a:lnTo>
                          <a:pt x="50" y="83"/>
                        </a:lnTo>
                        <a:lnTo>
                          <a:pt x="49" y="80"/>
                        </a:lnTo>
                        <a:lnTo>
                          <a:pt x="47" y="79"/>
                        </a:lnTo>
                        <a:lnTo>
                          <a:pt x="47" y="76"/>
                        </a:lnTo>
                        <a:lnTo>
                          <a:pt x="46" y="74"/>
                        </a:lnTo>
                        <a:lnTo>
                          <a:pt x="46" y="71"/>
                        </a:lnTo>
                        <a:lnTo>
                          <a:pt x="47" y="68"/>
                        </a:lnTo>
                        <a:lnTo>
                          <a:pt x="50" y="65"/>
                        </a:lnTo>
                        <a:lnTo>
                          <a:pt x="50" y="62"/>
                        </a:lnTo>
                        <a:lnTo>
                          <a:pt x="49" y="59"/>
                        </a:lnTo>
                        <a:lnTo>
                          <a:pt x="47" y="58"/>
                        </a:lnTo>
                        <a:lnTo>
                          <a:pt x="47" y="50"/>
                        </a:lnTo>
                        <a:lnTo>
                          <a:pt x="46" y="50"/>
                        </a:lnTo>
                        <a:lnTo>
                          <a:pt x="46" y="49"/>
                        </a:lnTo>
                        <a:lnTo>
                          <a:pt x="44" y="48"/>
                        </a:lnTo>
                        <a:lnTo>
                          <a:pt x="44" y="46"/>
                        </a:lnTo>
                        <a:lnTo>
                          <a:pt x="43" y="46"/>
                        </a:lnTo>
                        <a:lnTo>
                          <a:pt x="43" y="45"/>
                        </a:lnTo>
                        <a:lnTo>
                          <a:pt x="41" y="43"/>
                        </a:lnTo>
                        <a:lnTo>
                          <a:pt x="41" y="42"/>
                        </a:lnTo>
                        <a:lnTo>
                          <a:pt x="40" y="42"/>
                        </a:lnTo>
                        <a:lnTo>
                          <a:pt x="40" y="40"/>
                        </a:lnTo>
                        <a:lnTo>
                          <a:pt x="38" y="39"/>
                        </a:lnTo>
                        <a:lnTo>
                          <a:pt x="46" y="28"/>
                        </a:lnTo>
                        <a:lnTo>
                          <a:pt x="46" y="21"/>
                        </a:lnTo>
                        <a:lnTo>
                          <a:pt x="49" y="18"/>
                        </a:lnTo>
                        <a:lnTo>
                          <a:pt x="50" y="18"/>
                        </a:lnTo>
                        <a:lnTo>
                          <a:pt x="50" y="16"/>
                        </a:lnTo>
                        <a:lnTo>
                          <a:pt x="53" y="12"/>
                        </a:lnTo>
                        <a:lnTo>
                          <a:pt x="57" y="3"/>
                        </a:lnTo>
                        <a:lnTo>
                          <a:pt x="60" y="2"/>
                        </a:lnTo>
                        <a:lnTo>
                          <a:pt x="66" y="2"/>
                        </a:lnTo>
                        <a:lnTo>
                          <a:pt x="68"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23" name="Freeform 303" descr="© INSCALE GmbH, 21.06.2010"/>
                  <p:cNvSpPr>
                    <a:spLocks noChangeAspect="1"/>
                  </p:cNvSpPr>
                  <p:nvPr/>
                </p:nvSpPr>
                <p:spPr bwMode="auto">
                  <a:xfrm>
                    <a:off x="3416483" y="3554447"/>
                    <a:ext cx="108200" cy="131782"/>
                  </a:xfrm>
                  <a:custGeom>
                    <a:avLst/>
                    <a:gdLst>
                      <a:gd name="T0" fmla="*/ 2147483646 w 113"/>
                      <a:gd name="T1" fmla="*/ 0 h 137"/>
                      <a:gd name="T2" fmla="*/ 2147483646 w 113"/>
                      <a:gd name="T3" fmla="*/ 2147483646 h 137"/>
                      <a:gd name="T4" fmla="*/ 2147483646 w 113"/>
                      <a:gd name="T5" fmla="*/ 2147483646 h 137"/>
                      <a:gd name="T6" fmla="*/ 2147483646 w 113"/>
                      <a:gd name="T7" fmla="*/ 2147483646 h 137"/>
                      <a:gd name="T8" fmla="*/ 2147483646 w 113"/>
                      <a:gd name="T9" fmla="*/ 2147483646 h 137"/>
                      <a:gd name="T10" fmla="*/ 2147483646 w 113"/>
                      <a:gd name="T11" fmla="*/ 2147483646 h 137"/>
                      <a:gd name="T12" fmla="*/ 2147483646 w 113"/>
                      <a:gd name="T13" fmla="*/ 2147483646 h 137"/>
                      <a:gd name="T14" fmla="*/ 2147483646 w 113"/>
                      <a:gd name="T15" fmla="*/ 2147483646 h 137"/>
                      <a:gd name="T16" fmla="*/ 2147483646 w 113"/>
                      <a:gd name="T17" fmla="*/ 2147483646 h 137"/>
                      <a:gd name="T18" fmla="*/ 2147483646 w 113"/>
                      <a:gd name="T19" fmla="*/ 2147483646 h 137"/>
                      <a:gd name="T20" fmla="*/ 2147483646 w 113"/>
                      <a:gd name="T21" fmla="*/ 2147483646 h 137"/>
                      <a:gd name="T22" fmla="*/ 2147483646 w 113"/>
                      <a:gd name="T23" fmla="*/ 2147483646 h 137"/>
                      <a:gd name="T24" fmla="*/ 2147483646 w 113"/>
                      <a:gd name="T25" fmla="*/ 2147483646 h 137"/>
                      <a:gd name="T26" fmla="*/ 2147483646 w 113"/>
                      <a:gd name="T27" fmla="*/ 2147483646 h 137"/>
                      <a:gd name="T28" fmla="*/ 2147483646 w 113"/>
                      <a:gd name="T29" fmla="*/ 2147483646 h 137"/>
                      <a:gd name="T30" fmla="*/ 2147483646 w 113"/>
                      <a:gd name="T31" fmla="*/ 2147483646 h 137"/>
                      <a:gd name="T32" fmla="*/ 2147483646 w 113"/>
                      <a:gd name="T33" fmla="*/ 2147483646 h 137"/>
                      <a:gd name="T34" fmla="*/ 2147483646 w 113"/>
                      <a:gd name="T35" fmla="*/ 2147483646 h 137"/>
                      <a:gd name="T36" fmla="*/ 2147483646 w 113"/>
                      <a:gd name="T37" fmla="*/ 2147483646 h 137"/>
                      <a:gd name="T38" fmla="*/ 2147483646 w 113"/>
                      <a:gd name="T39" fmla="*/ 2147483646 h 137"/>
                      <a:gd name="T40" fmla="*/ 2147483646 w 113"/>
                      <a:gd name="T41" fmla="*/ 2147483646 h 137"/>
                      <a:gd name="T42" fmla="*/ 2147483646 w 113"/>
                      <a:gd name="T43" fmla="*/ 2147483646 h 137"/>
                      <a:gd name="T44" fmla="*/ 2147483646 w 113"/>
                      <a:gd name="T45" fmla="*/ 2147483646 h 137"/>
                      <a:gd name="T46" fmla="*/ 2147483646 w 113"/>
                      <a:gd name="T47" fmla="*/ 2147483646 h 137"/>
                      <a:gd name="T48" fmla="*/ 2147483646 w 113"/>
                      <a:gd name="T49" fmla="*/ 2147483646 h 137"/>
                      <a:gd name="T50" fmla="*/ 2147483646 w 113"/>
                      <a:gd name="T51" fmla="*/ 2147483646 h 137"/>
                      <a:gd name="T52" fmla="*/ 2147483646 w 113"/>
                      <a:gd name="T53" fmla="*/ 2147483646 h 137"/>
                      <a:gd name="T54" fmla="*/ 2147483646 w 113"/>
                      <a:gd name="T55" fmla="*/ 2147483646 h 137"/>
                      <a:gd name="T56" fmla="*/ 2147483646 w 113"/>
                      <a:gd name="T57" fmla="*/ 2147483646 h 137"/>
                      <a:gd name="T58" fmla="*/ 2147483646 w 113"/>
                      <a:gd name="T59" fmla="*/ 2147483646 h 137"/>
                      <a:gd name="T60" fmla="*/ 2147483646 w 113"/>
                      <a:gd name="T61" fmla="*/ 2147483646 h 137"/>
                      <a:gd name="T62" fmla="*/ 2147483646 w 113"/>
                      <a:gd name="T63" fmla="*/ 2147483646 h 137"/>
                      <a:gd name="T64" fmla="*/ 2147483646 w 113"/>
                      <a:gd name="T65" fmla="*/ 2147483646 h 137"/>
                      <a:gd name="T66" fmla="*/ 2147483646 w 113"/>
                      <a:gd name="T67" fmla="*/ 2147483646 h 137"/>
                      <a:gd name="T68" fmla="*/ 2147483646 w 113"/>
                      <a:gd name="T69" fmla="*/ 2147483646 h 137"/>
                      <a:gd name="T70" fmla="*/ 2147483646 w 113"/>
                      <a:gd name="T71" fmla="*/ 2147483646 h 137"/>
                      <a:gd name="T72" fmla="*/ 2147483646 w 113"/>
                      <a:gd name="T73" fmla="*/ 2147483646 h 137"/>
                      <a:gd name="T74" fmla="*/ 2147483646 w 113"/>
                      <a:gd name="T75" fmla="*/ 2147483646 h 137"/>
                      <a:gd name="T76" fmla="*/ 2147483646 w 113"/>
                      <a:gd name="T77" fmla="*/ 2147483646 h 137"/>
                      <a:gd name="T78" fmla="*/ 2147483646 w 113"/>
                      <a:gd name="T79" fmla="*/ 2147483646 h 137"/>
                      <a:gd name="T80" fmla="*/ 2147483646 w 113"/>
                      <a:gd name="T81" fmla="*/ 2147483646 h 137"/>
                      <a:gd name="T82" fmla="*/ 2147483646 w 113"/>
                      <a:gd name="T83" fmla="*/ 2147483646 h 137"/>
                      <a:gd name="T84" fmla="*/ 2147483646 w 113"/>
                      <a:gd name="T85" fmla="*/ 2147483646 h 137"/>
                      <a:gd name="T86" fmla="*/ 2147483646 w 113"/>
                      <a:gd name="T87" fmla="*/ 2147483646 h 137"/>
                      <a:gd name="T88" fmla="*/ 2147483646 w 113"/>
                      <a:gd name="T89" fmla="*/ 2147483646 h 137"/>
                      <a:gd name="T90" fmla="*/ 2147483646 w 113"/>
                      <a:gd name="T91" fmla="*/ 2147483646 h 137"/>
                      <a:gd name="T92" fmla="*/ 2147483646 w 113"/>
                      <a:gd name="T93" fmla="*/ 2147483646 h 137"/>
                      <a:gd name="T94" fmla="*/ 2147483646 w 113"/>
                      <a:gd name="T95" fmla="*/ 2147483646 h 137"/>
                      <a:gd name="T96" fmla="*/ 0 w 113"/>
                      <a:gd name="T97" fmla="*/ 2147483646 h 137"/>
                      <a:gd name="T98" fmla="*/ 2147483646 w 113"/>
                      <a:gd name="T99" fmla="*/ 2147483646 h 137"/>
                      <a:gd name="T100" fmla="*/ 2147483646 w 113"/>
                      <a:gd name="T101" fmla="*/ 2147483646 h 137"/>
                      <a:gd name="T102" fmla="*/ 2147483646 w 113"/>
                      <a:gd name="T103" fmla="*/ 2147483646 h 137"/>
                      <a:gd name="T104" fmla="*/ 2147483646 w 113"/>
                      <a:gd name="T105" fmla="*/ 2147483646 h 137"/>
                      <a:gd name="T106" fmla="*/ 2147483646 w 113"/>
                      <a:gd name="T107" fmla="*/ 2147483646 h 137"/>
                      <a:gd name="T108" fmla="*/ 2147483646 w 113"/>
                      <a:gd name="T109" fmla="*/ 2147483646 h 137"/>
                      <a:gd name="T110" fmla="*/ 2147483646 w 113"/>
                      <a:gd name="T111" fmla="*/ 2147483646 h 137"/>
                      <a:gd name="T112" fmla="*/ 2147483646 w 113"/>
                      <a:gd name="T113" fmla="*/ 2147483646 h 13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3"/>
                      <a:gd name="T172" fmla="*/ 0 h 137"/>
                      <a:gd name="T173" fmla="*/ 113 w 113"/>
                      <a:gd name="T174" fmla="*/ 137 h 13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3" h="137">
                        <a:moveTo>
                          <a:pt x="48" y="0"/>
                        </a:moveTo>
                        <a:lnTo>
                          <a:pt x="54" y="0"/>
                        </a:lnTo>
                        <a:lnTo>
                          <a:pt x="56" y="1"/>
                        </a:lnTo>
                        <a:lnTo>
                          <a:pt x="56" y="3"/>
                        </a:lnTo>
                        <a:lnTo>
                          <a:pt x="57" y="6"/>
                        </a:lnTo>
                        <a:lnTo>
                          <a:pt x="59" y="7"/>
                        </a:lnTo>
                        <a:lnTo>
                          <a:pt x="60" y="10"/>
                        </a:lnTo>
                        <a:lnTo>
                          <a:pt x="62" y="12"/>
                        </a:lnTo>
                        <a:lnTo>
                          <a:pt x="63" y="12"/>
                        </a:lnTo>
                        <a:lnTo>
                          <a:pt x="65" y="10"/>
                        </a:lnTo>
                        <a:lnTo>
                          <a:pt x="69" y="10"/>
                        </a:lnTo>
                        <a:lnTo>
                          <a:pt x="71" y="4"/>
                        </a:lnTo>
                        <a:lnTo>
                          <a:pt x="82" y="18"/>
                        </a:lnTo>
                        <a:lnTo>
                          <a:pt x="91" y="18"/>
                        </a:lnTo>
                        <a:lnTo>
                          <a:pt x="93" y="19"/>
                        </a:lnTo>
                        <a:lnTo>
                          <a:pt x="93" y="21"/>
                        </a:lnTo>
                        <a:lnTo>
                          <a:pt x="94" y="21"/>
                        </a:lnTo>
                        <a:lnTo>
                          <a:pt x="94" y="22"/>
                        </a:lnTo>
                        <a:lnTo>
                          <a:pt x="96" y="24"/>
                        </a:lnTo>
                        <a:lnTo>
                          <a:pt x="96" y="25"/>
                        </a:lnTo>
                        <a:lnTo>
                          <a:pt x="97" y="25"/>
                        </a:lnTo>
                        <a:lnTo>
                          <a:pt x="97" y="27"/>
                        </a:lnTo>
                        <a:lnTo>
                          <a:pt x="99" y="28"/>
                        </a:lnTo>
                        <a:lnTo>
                          <a:pt x="99" y="29"/>
                        </a:lnTo>
                        <a:lnTo>
                          <a:pt x="100" y="29"/>
                        </a:lnTo>
                        <a:lnTo>
                          <a:pt x="100" y="37"/>
                        </a:lnTo>
                        <a:lnTo>
                          <a:pt x="102" y="38"/>
                        </a:lnTo>
                        <a:lnTo>
                          <a:pt x="103" y="41"/>
                        </a:lnTo>
                        <a:lnTo>
                          <a:pt x="103" y="44"/>
                        </a:lnTo>
                        <a:lnTo>
                          <a:pt x="100" y="47"/>
                        </a:lnTo>
                        <a:lnTo>
                          <a:pt x="99" y="50"/>
                        </a:lnTo>
                        <a:lnTo>
                          <a:pt x="99" y="53"/>
                        </a:lnTo>
                        <a:lnTo>
                          <a:pt x="100" y="55"/>
                        </a:lnTo>
                        <a:lnTo>
                          <a:pt x="100" y="58"/>
                        </a:lnTo>
                        <a:lnTo>
                          <a:pt x="102" y="59"/>
                        </a:lnTo>
                        <a:lnTo>
                          <a:pt x="103" y="62"/>
                        </a:lnTo>
                        <a:lnTo>
                          <a:pt x="103" y="65"/>
                        </a:lnTo>
                        <a:lnTo>
                          <a:pt x="105" y="68"/>
                        </a:lnTo>
                        <a:lnTo>
                          <a:pt x="105" y="78"/>
                        </a:lnTo>
                        <a:lnTo>
                          <a:pt x="108" y="80"/>
                        </a:lnTo>
                        <a:lnTo>
                          <a:pt x="109" y="80"/>
                        </a:lnTo>
                        <a:lnTo>
                          <a:pt x="113" y="84"/>
                        </a:lnTo>
                        <a:lnTo>
                          <a:pt x="113" y="87"/>
                        </a:lnTo>
                        <a:lnTo>
                          <a:pt x="109" y="96"/>
                        </a:lnTo>
                        <a:lnTo>
                          <a:pt x="108" y="98"/>
                        </a:lnTo>
                        <a:lnTo>
                          <a:pt x="109" y="99"/>
                        </a:lnTo>
                        <a:lnTo>
                          <a:pt x="109" y="102"/>
                        </a:lnTo>
                        <a:lnTo>
                          <a:pt x="106" y="105"/>
                        </a:lnTo>
                        <a:lnTo>
                          <a:pt x="100" y="105"/>
                        </a:lnTo>
                        <a:lnTo>
                          <a:pt x="97" y="103"/>
                        </a:lnTo>
                        <a:lnTo>
                          <a:pt x="93" y="99"/>
                        </a:lnTo>
                        <a:lnTo>
                          <a:pt x="87" y="99"/>
                        </a:lnTo>
                        <a:lnTo>
                          <a:pt x="84" y="100"/>
                        </a:lnTo>
                        <a:lnTo>
                          <a:pt x="82" y="102"/>
                        </a:lnTo>
                        <a:lnTo>
                          <a:pt x="82" y="109"/>
                        </a:lnTo>
                        <a:lnTo>
                          <a:pt x="88" y="115"/>
                        </a:lnTo>
                        <a:lnTo>
                          <a:pt x="88" y="118"/>
                        </a:lnTo>
                        <a:lnTo>
                          <a:pt x="87" y="120"/>
                        </a:lnTo>
                        <a:lnTo>
                          <a:pt x="81" y="120"/>
                        </a:lnTo>
                        <a:lnTo>
                          <a:pt x="78" y="118"/>
                        </a:lnTo>
                        <a:lnTo>
                          <a:pt x="76" y="117"/>
                        </a:lnTo>
                        <a:lnTo>
                          <a:pt x="74" y="115"/>
                        </a:lnTo>
                        <a:lnTo>
                          <a:pt x="68" y="115"/>
                        </a:lnTo>
                        <a:lnTo>
                          <a:pt x="63" y="120"/>
                        </a:lnTo>
                        <a:lnTo>
                          <a:pt x="62" y="120"/>
                        </a:lnTo>
                        <a:lnTo>
                          <a:pt x="62" y="121"/>
                        </a:lnTo>
                        <a:lnTo>
                          <a:pt x="63" y="123"/>
                        </a:lnTo>
                        <a:lnTo>
                          <a:pt x="65" y="126"/>
                        </a:lnTo>
                        <a:lnTo>
                          <a:pt x="60" y="130"/>
                        </a:lnTo>
                        <a:lnTo>
                          <a:pt x="56" y="130"/>
                        </a:lnTo>
                        <a:lnTo>
                          <a:pt x="53" y="133"/>
                        </a:lnTo>
                        <a:lnTo>
                          <a:pt x="53" y="137"/>
                        </a:lnTo>
                        <a:lnTo>
                          <a:pt x="48" y="137"/>
                        </a:lnTo>
                        <a:lnTo>
                          <a:pt x="47" y="136"/>
                        </a:lnTo>
                        <a:lnTo>
                          <a:pt x="47" y="134"/>
                        </a:lnTo>
                        <a:lnTo>
                          <a:pt x="39" y="134"/>
                        </a:lnTo>
                        <a:lnTo>
                          <a:pt x="37" y="129"/>
                        </a:lnTo>
                        <a:lnTo>
                          <a:pt x="29" y="129"/>
                        </a:lnTo>
                        <a:lnTo>
                          <a:pt x="29" y="126"/>
                        </a:lnTo>
                        <a:lnTo>
                          <a:pt x="31" y="126"/>
                        </a:lnTo>
                        <a:lnTo>
                          <a:pt x="32" y="124"/>
                        </a:lnTo>
                        <a:lnTo>
                          <a:pt x="28" y="120"/>
                        </a:lnTo>
                        <a:lnTo>
                          <a:pt x="26" y="117"/>
                        </a:lnTo>
                        <a:lnTo>
                          <a:pt x="23" y="108"/>
                        </a:lnTo>
                        <a:lnTo>
                          <a:pt x="23" y="98"/>
                        </a:lnTo>
                        <a:lnTo>
                          <a:pt x="13" y="105"/>
                        </a:lnTo>
                        <a:lnTo>
                          <a:pt x="13" y="98"/>
                        </a:lnTo>
                        <a:lnTo>
                          <a:pt x="11" y="93"/>
                        </a:lnTo>
                        <a:lnTo>
                          <a:pt x="11" y="84"/>
                        </a:lnTo>
                        <a:lnTo>
                          <a:pt x="13" y="81"/>
                        </a:lnTo>
                        <a:lnTo>
                          <a:pt x="13" y="78"/>
                        </a:lnTo>
                        <a:lnTo>
                          <a:pt x="11" y="78"/>
                        </a:lnTo>
                        <a:lnTo>
                          <a:pt x="10" y="77"/>
                        </a:lnTo>
                        <a:lnTo>
                          <a:pt x="7" y="77"/>
                        </a:lnTo>
                        <a:lnTo>
                          <a:pt x="4" y="75"/>
                        </a:lnTo>
                        <a:lnTo>
                          <a:pt x="1" y="75"/>
                        </a:lnTo>
                        <a:lnTo>
                          <a:pt x="0" y="74"/>
                        </a:lnTo>
                        <a:lnTo>
                          <a:pt x="0" y="69"/>
                        </a:lnTo>
                        <a:lnTo>
                          <a:pt x="1" y="66"/>
                        </a:lnTo>
                        <a:lnTo>
                          <a:pt x="1" y="63"/>
                        </a:lnTo>
                        <a:lnTo>
                          <a:pt x="2" y="61"/>
                        </a:lnTo>
                        <a:lnTo>
                          <a:pt x="5" y="59"/>
                        </a:lnTo>
                        <a:lnTo>
                          <a:pt x="7" y="59"/>
                        </a:lnTo>
                        <a:lnTo>
                          <a:pt x="8" y="58"/>
                        </a:lnTo>
                        <a:lnTo>
                          <a:pt x="10" y="58"/>
                        </a:lnTo>
                        <a:lnTo>
                          <a:pt x="13" y="56"/>
                        </a:lnTo>
                        <a:lnTo>
                          <a:pt x="16" y="53"/>
                        </a:lnTo>
                        <a:lnTo>
                          <a:pt x="16" y="41"/>
                        </a:lnTo>
                        <a:lnTo>
                          <a:pt x="14" y="38"/>
                        </a:lnTo>
                        <a:lnTo>
                          <a:pt x="14" y="37"/>
                        </a:lnTo>
                        <a:lnTo>
                          <a:pt x="16" y="29"/>
                        </a:lnTo>
                        <a:lnTo>
                          <a:pt x="25" y="25"/>
                        </a:lnTo>
                        <a:lnTo>
                          <a:pt x="26" y="15"/>
                        </a:lnTo>
                        <a:lnTo>
                          <a:pt x="45" y="6"/>
                        </a:lnTo>
                        <a:lnTo>
                          <a:pt x="48"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24" name="Freeform 304" descr="© INSCALE GmbH, 21.06.2010"/>
                  <p:cNvSpPr>
                    <a:spLocks noChangeAspect="1"/>
                  </p:cNvSpPr>
                  <p:nvPr/>
                </p:nvSpPr>
                <p:spPr bwMode="auto">
                  <a:xfrm>
                    <a:off x="3015589" y="3442085"/>
                    <a:ext cx="325986" cy="303791"/>
                  </a:xfrm>
                  <a:custGeom>
                    <a:avLst/>
                    <a:gdLst>
                      <a:gd name="T0" fmla="*/ 2147483646 w 344"/>
                      <a:gd name="T1" fmla="*/ 2147483646 h 316"/>
                      <a:gd name="T2" fmla="*/ 2147483646 w 344"/>
                      <a:gd name="T3" fmla="*/ 2147483646 h 316"/>
                      <a:gd name="T4" fmla="*/ 2147483646 w 344"/>
                      <a:gd name="T5" fmla="*/ 2147483646 h 316"/>
                      <a:gd name="T6" fmla="*/ 2147483646 w 344"/>
                      <a:gd name="T7" fmla="*/ 2147483646 h 316"/>
                      <a:gd name="T8" fmla="*/ 2147483646 w 344"/>
                      <a:gd name="T9" fmla="*/ 2147483646 h 316"/>
                      <a:gd name="T10" fmla="*/ 2147483646 w 344"/>
                      <a:gd name="T11" fmla="*/ 2147483646 h 316"/>
                      <a:gd name="T12" fmla="*/ 2147483646 w 344"/>
                      <a:gd name="T13" fmla="*/ 2147483646 h 316"/>
                      <a:gd name="T14" fmla="*/ 2147483646 w 344"/>
                      <a:gd name="T15" fmla="*/ 2147483646 h 316"/>
                      <a:gd name="T16" fmla="*/ 2147483646 w 344"/>
                      <a:gd name="T17" fmla="*/ 2147483646 h 316"/>
                      <a:gd name="T18" fmla="*/ 2147483646 w 344"/>
                      <a:gd name="T19" fmla="*/ 2147483646 h 316"/>
                      <a:gd name="T20" fmla="*/ 2147483646 w 344"/>
                      <a:gd name="T21" fmla="*/ 2147483646 h 316"/>
                      <a:gd name="T22" fmla="*/ 2147483646 w 344"/>
                      <a:gd name="T23" fmla="*/ 2147483646 h 316"/>
                      <a:gd name="T24" fmla="*/ 2147483646 w 344"/>
                      <a:gd name="T25" fmla="*/ 2147483646 h 316"/>
                      <a:gd name="T26" fmla="*/ 2147483646 w 344"/>
                      <a:gd name="T27" fmla="*/ 2147483646 h 316"/>
                      <a:gd name="T28" fmla="*/ 2147483646 w 344"/>
                      <a:gd name="T29" fmla="*/ 2147483646 h 316"/>
                      <a:gd name="T30" fmla="*/ 2147483646 w 344"/>
                      <a:gd name="T31" fmla="*/ 2147483646 h 316"/>
                      <a:gd name="T32" fmla="*/ 2147483646 w 344"/>
                      <a:gd name="T33" fmla="*/ 2147483646 h 316"/>
                      <a:gd name="T34" fmla="*/ 2147483646 w 344"/>
                      <a:gd name="T35" fmla="*/ 2147483646 h 316"/>
                      <a:gd name="T36" fmla="*/ 2147483646 w 344"/>
                      <a:gd name="T37" fmla="*/ 2147483646 h 316"/>
                      <a:gd name="T38" fmla="*/ 2147483646 w 344"/>
                      <a:gd name="T39" fmla="*/ 2147483646 h 316"/>
                      <a:gd name="T40" fmla="*/ 2147483646 w 344"/>
                      <a:gd name="T41" fmla="*/ 2147483646 h 316"/>
                      <a:gd name="T42" fmla="*/ 2147483646 w 344"/>
                      <a:gd name="T43" fmla="*/ 2147483646 h 316"/>
                      <a:gd name="T44" fmla="*/ 2147483646 w 344"/>
                      <a:gd name="T45" fmla="*/ 2147483646 h 316"/>
                      <a:gd name="T46" fmla="*/ 2147483646 w 344"/>
                      <a:gd name="T47" fmla="*/ 2147483646 h 316"/>
                      <a:gd name="T48" fmla="*/ 2147483646 w 344"/>
                      <a:gd name="T49" fmla="*/ 2147483646 h 316"/>
                      <a:gd name="T50" fmla="*/ 2147483646 w 344"/>
                      <a:gd name="T51" fmla="*/ 2147483646 h 316"/>
                      <a:gd name="T52" fmla="*/ 2147483646 w 344"/>
                      <a:gd name="T53" fmla="*/ 2147483646 h 316"/>
                      <a:gd name="T54" fmla="*/ 2147483646 w 344"/>
                      <a:gd name="T55" fmla="*/ 2147483646 h 316"/>
                      <a:gd name="T56" fmla="*/ 2147483646 w 344"/>
                      <a:gd name="T57" fmla="*/ 2147483646 h 316"/>
                      <a:gd name="T58" fmla="*/ 2147483646 w 344"/>
                      <a:gd name="T59" fmla="*/ 2147483646 h 316"/>
                      <a:gd name="T60" fmla="*/ 2147483646 w 344"/>
                      <a:gd name="T61" fmla="*/ 2147483646 h 316"/>
                      <a:gd name="T62" fmla="*/ 2147483646 w 344"/>
                      <a:gd name="T63" fmla="*/ 2147483646 h 316"/>
                      <a:gd name="T64" fmla="*/ 2147483646 w 344"/>
                      <a:gd name="T65" fmla="*/ 2147483646 h 316"/>
                      <a:gd name="T66" fmla="*/ 2147483646 w 344"/>
                      <a:gd name="T67" fmla="*/ 2147483646 h 316"/>
                      <a:gd name="T68" fmla="*/ 2147483646 w 344"/>
                      <a:gd name="T69" fmla="*/ 2147483646 h 316"/>
                      <a:gd name="T70" fmla="*/ 2147483646 w 344"/>
                      <a:gd name="T71" fmla="*/ 2147483646 h 316"/>
                      <a:gd name="T72" fmla="*/ 2147483646 w 344"/>
                      <a:gd name="T73" fmla="*/ 2147483646 h 316"/>
                      <a:gd name="T74" fmla="*/ 2147483646 w 344"/>
                      <a:gd name="T75" fmla="*/ 2147483646 h 316"/>
                      <a:gd name="T76" fmla="*/ 2147483646 w 344"/>
                      <a:gd name="T77" fmla="*/ 2147483646 h 316"/>
                      <a:gd name="T78" fmla="*/ 2147483646 w 344"/>
                      <a:gd name="T79" fmla="*/ 2147483646 h 316"/>
                      <a:gd name="T80" fmla="*/ 2147483646 w 344"/>
                      <a:gd name="T81" fmla="*/ 2147483646 h 316"/>
                      <a:gd name="T82" fmla="*/ 2147483646 w 344"/>
                      <a:gd name="T83" fmla="*/ 2147483646 h 316"/>
                      <a:gd name="T84" fmla="*/ 2147483646 w 344"/>
                      <a:gd name="T85" fmla="*/ 2147483646 h 316"/>
                      <a:gd name="T86" fmla="*/ 2147483646 w 344"/>
                      <a:gd name="T87" fmla="*/ 2147483646 h 316"/>
                      <a:gd name="T88" fmla="*/ 2147483646 w 344"/>
                      <a:gd name="T89" fmla="*/ 2147483646 h 316"/>
                      <a:gd name="T90" fmla="*/ 2147483646 w 344"/>
                      <a:gd name="T91" fmla="*/ 2147483646 h 316"/>
                      <a:gd name="T92" fmla="*/ 2147483646 w 344"/>
                      <a:gd name="T93" fmla="*/ 2147483646 h 316"/>
                      <a:gd name="T94" fmla="*/ 2147483646 w 344"/>
                      <a:gd name="T95" fmla="*/ 2147483646 h 316"/>
                      <a:gd name="T96" fmla="*/ 2147483646 w 344"/>
                      <a:gd name="T97" fmla="*/ 2147483646 h 316"/>
                      <a:gd name="T98" fmla="*/ 2147483646 w 344"/>
                      <a:gd name="T99" fmla="*/ 2147483646 h 316"/>
                      <a:gd name="T100" fmla="*/ 2147483646 w 344"/>
                      <a:gd name="T101" fmla="*/ 2147483646 h 316"/>
                      <a:gd name="T102" fmla="*/ 2147483646 w 344"/>
                      <a:gd name="T103" fmla="*/ 2147483646 h 316"/>
                      <a:gd name="T104" fmla="*/ 2147483646 w 344"/>
                      <a:gd name="T105" fmla="*/ 2147483646 h 316"/>
                      <a:gd name="T106" fmla="*/ 2147483646 w 344"/>
                      <a:gd name="T107" fmla="*/ 2147483646 h 316"/>
                      <a:gd name="T108" fmla="*/ 2147483646 w 344"/>
                      <a:gd name="T109" fmla="*/ 2147483646 h 316"/>
                      <a:gd name="T110" fmla="*/ 2147483646 w 344"/>
                      <a:gd name="T111" fmla="*/ 2147483646 h 316"/>
                      <a:gd name="T112" fmla="*/ 2147483646 w 344"/>
                      <a:gd name="T113" fmla="*/ 2147483646 h 3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4"/>
                      <a:gd name="T172" fmla="*/ 0 h 316"/>
                      <a:gd name="T173" fmla="*/ 344 w 344"/>
                      <a:gd name="T174" fmla="*/ 316 h 3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4" h="316">
                        <a:moveTo>
                          <a:pt x="273" y="0"/>
                        </a:moveTo>
                        <a:lnTo>
                          <a:pt x="281" y="0"/>
                        </a:lnTo>
                        <a:lnTo>
                          <a:pt x="281" y="28"/>
                        </a:lnTo>
                        <a:lnTo>
                          <a:pt x="296" y="44"/>
                        </a:lnTo>
                        <a:lnTo>
                          <a:pt x="298" y="47"/>
                        </a:lnTo>
                        <a:lnTo>
                          <a:pt x="298" y="48"/>
                        </a:lnTo>
                        <a:lnTo>
                          <a:pt x="296" y="51"/>
                        </a:lnTo>
                        <a:lnTo>
                          <a:pt x="295" y="53"/>
                        </a:lnTo>
                        <a:lnTo>
                          <a:pt x="295" y="59"/>
                        </a:lnTo>
                        <a:lnTo>
                          <a:pt x="301" y="65"/>
                        </a:lnTo>
                        <a:lnTo>
                          <a:pt x="315" y="74"/>
                        </a:lnTo>
                        <a:lnTo>
                          <a:pt x="321" y="78"/>
                        </a:lnTo>
                        <a:lnTo>
                          <a:pt x="324" y="79"/>
                        </a:lnTo>
                        <a:lnTo>
                          <a:pt x="336" y="77"/>
                        </a:lnTo>
                        <a:lnTo>
                          <a:pt x="344" y="90"/>
                        </a:lnTo>
                        <a:lnTo>
                          <a:pt x="344" y="116"/>
                        </a:lnTo>
                        <a:lnTo>
                          <a:pt x="342" y="118"/>
                        </a:lnTo>
                        <a:lnTo>
                          <a:pt x="339" y="119"/>
                        </a:lnTo>
                        <a:lnTo>
                          <a:pt x="338" y="121"/>
                        </a:lnTo>
                        <a:lnTo>
                          <a:pt x="335" y="122"/>
                        </a:lnTo>
                        <a:lnTo>
                          <a:pt x="333" y="124"/>
                        </a:lnTo>
                        <a:lnTo>
                          <a:pt x="332" y="124"/>
                        </a:lnTo>
                        <a:lnTo>
                          <a:pt x="329" y="122"/>
                        </a:lnTo>
                        <a:lnTo>
                          <a:pt x="314" y="119"/>
                        </a:lnTo>
                        <a:lnTo>
                          <a:pt x="308" y="121"/>
                        </a:lnTo>
                        <a:lnTo>
                          <a:pt x="307" y="122"/>
                        </a:lnTo>
                        <a:lnTo>
                          <a:pt x="302" y="125"/>
                        </a:lnTo>
                        <a:lnTo>
                          <a:pt x="299" y="128"/>
                        </a:lnTo>
                        <a:lnTo>
                          <a:pt x="295" y="131"/>
                        </a:lnTo>
                        <a:lnTo>
                          <a:pt x="292" y="133"/>
                        </a:lnTo>
                        <a:lnTo>
                          <a:pt x="286" y="139"/>
                        </a:lnTo>
                        <a:lnTo>
                          <a:pt x="283" y="140"/>
                        </a:lnTo>
                        <a:lnTo>
                          <a:pt x="279" y="145"/>
                        </a:lnTo>
                        <a:lnTo>
                          <a:pt x="276" y="146"/>
                        </a:lnTo>
                        <a:lnTo>
                          <a:pt x="274" y="146"/>
                        </a:lnTo>
                        <a:lnTo>
                          <a:pt x="265" y="142"/>
                        </a:lnTo>
                        <a:lnTo>
                          <a:pt x="259" y="142"/>
                        </a:lnTo>
                        <a:lnTo>
                          <a:pt x="256" y="145"/>
                        </a:lnTo>
                        <a:lnTo>
                          <a:pt x="256" y="147"/>
                        </a:lnTo>
                        <a:lnTo>
                          <a:pt x="258" y="150"/>
                        </a:lnTo>
                        <a:lnTo>
                          <a:pt x="261" y="152"/>
                        </a:lnTo>
                        <a:lnTo>
                          <a:pt x="262" y="153"/>
                        </a:lnTo>
                        <a:lnTo>
                          <a:pt x="262" y="158"/>
                        </a:lnTo>
                        <a:lnTo>
                          <a:pt x="273" y="167"/>
                        </a:lnTo>
                        <a:lnTo>
                          <a:pt x="273" y="170"/>
                        </a:lnTo>
                        <a:lnTo>
                          <a:pt x="271" y="177"/>
                        </a:lnTo>
                        <a:lnTo>
                          <a:pt x="268" y="186"/>
                        </a:lnTo>
                        <a:lnTo>
                          <a:pt x="267" y="195"/>
                        </a:lnTo>
                        <a:lnTo>
                          <a:pt x="265" y="202"/>
                        </a:lnTo>
                        <a:lnTo>
                          <a:pt x="262" y="211"/>
                        </a:lnTo>
                        <a:lnTo>
                          <a:pt x="259" y="214"/>
                        </a:lnTo>
                        <a:lnTo>
                          <a:pt x="256" y="220"/>
                        </a:lnTo>
                        <a:lnTo>
                          <a:pt x="256" y="221"/>
                        </a:lnTo>
                        <a:lnTo>
                          <a:pt x="258" y="223"/>
                        </a:lnTo>
                        <a:lnTo>
                          <a:pt x="261" y="229"/>
                        </a:lnTo>
                        <a:lnTo>
                          <a:pt x="262" y="233"/>
                        </a:lnTo>
                        <a:lnTo>
                          <a:pt x="265" y="239"/>
                        </a:lnTo>
                        <a:lnTo>
                          <a:pt x="271" y="245"/>
                        </a:lnTo>
                        <a:lnTo>
                          <a:pt x="280" y="250"/>
                        </a:lnTo>
                        <a:lnTo>
                          <a:pt x="289" y="255"/>
                        </a:lnTo>
                        <a:lnTo>
                          <a:pt x="296" y="260"/>
                        </a:lnTo>
                        <a:lnTo>
                          <a:pt x="299" y="261"/>
                        </a:lnTo>
                        <a:lnTo>
                          <a:pt x="298" y="264"/>
                        </a:lnTo>
                        <a:lnTo>
                          <a:pt x="295" y="266"/>
                        </a:lnTo>
                        <a:lnTo>
                          <a:pt x="279" y="282"/>
                        </a:lnTo>
                        <a:lnTo>
                          <a:pt x="276" y="282"/>
                        </a:lnTo>
                        <a:lnTo>
                          <a:pt x="270" y="285"/>
                        </a:lnTo>
                        <a:lnTo>
                          <a:pt x="265" y="286"/>
                        </a:lnTo>
                        <a:lnTo>
                          <a:pt x="262" y="288"/>
                        </a:lnTo>
                        <a:lnTo>
                          <a:pt x="252" y="288"/>
                        </a:lnTo>
                        <a:lnTo>
                          <a:pt x="249" y="286"/>
                        </a:lnTo>
                        <a:lnTo>
                          <a:pt x="247" y="286"/>
                        </a:lnTo>
                        <a:lnTo>
                          <a:pt x="246" y="285"/>
                        </a:lnTo>
                        <a:lnTo>
                          <a:pt x="244" y="282"/>
                        </a:lnTo>
                        <a:lnTo>
                          <a:pt x="244" y="279"/>
                        </a:lnTo>
                        <a:lnTo>
                          <a:pt x="243" y="276"/>
                        </a:lnTo>
                        <a:lnTo>
                          <a:pt x="242" y="275"/>
                        </a:lnTo>
                        <a:lnTo>
                          <a:pt x="240" y="275"/>
                        </a:lnTo>
                        <a:lnTo>
                          <a:pt x="236" y="273"/>
                        </a:lnTo>
                        <a:lnTo>
                          <a:pt x="225" y="273"/>
                        </a:lnTo>
                        <a:lnTo>
                          <a:pt x="222" y="276"/>
                        </a:lnTo>
                        <a:lnTo>
                          <a:pt x="221" y="279"/>
                        </a:lnTo>
                        <a:lnTo>
                          <a:pt x="219" y="284"/>
                        </a:lnTo>
                        <a:lnTo>
                          <a:pt x="218" y="286"/>
                        </a:lnTo>
                        <a:lnTo>
                          <a:pt x="216" y="288"/>
                        </a:lnTo>
                        <a:lnTo>
                          <a:pt x="216" y="289"/>
                        </a:lnTo>
                        <a:lnTo>
                          <a:pt x="203" y="285"/>
                        </a:lnTo>
                        <a:lnTo>
                          <a:pt x="197" y="307"/>
                        </a:lnTo>
                        <a:lnTo>
                          <a:pt x="178" y="316"/>
                        </a:lnTo>
                        <a:lnTo>
                          <a:pt x="176" y="313"/>
                        </a:lnTo>
                        <a:lnTo>
                          <a:pt x="175" y="312"/>
                        </a:lnTo>
                        <a:lnTo>
                          <a:pt x="171" y="312"/>
                        </a:lnTo>
                        <a:lnTo>
                          <a:pt x="169" y="313"/>
                        </a:lnTo>
                        <a:lnTo>
                          <a:pt x="166" y="313"/>
                        </a:lnTo>
                        <a:lnTo>
                          <a:pt x="163" y="310"/>
                        </a:lnTo>
                        <a:lnTo>
                          <a:pt x="163" y="307"/>
                        </a:lnTo>
                        <a:lnTo>
                          <a:pt x="162" y="306"/>
                        </a:lnTo>
                        <a:lnTo>
                          <a:pt x="159" y="306"/>
                        </a:lnTo>
                        <a:lnTo>
                          <a:pt x="157" y="304"/>
                        </a:lnTo>
                        <a:lnTo>
                          <a:pt x="150" y="304"/>
                        </a:lnTo>
                        <a:lnTo>
                          <a:pt x="147" y="303"/>
                        </a:lnTo>
                        <a:lnTo>
                          <a:pt x="145" y="303"/>
                        </a:lnTo>
                        <a:lnTo>
                          <a:pt x="144" y="301"/>
                        </a:lnTo>
                        <a:lnTo>
                          <a:pt x="144" y="294"/>
                        </a:lnTo>
                        <a:lnTo>
                          <a:pt x="142" y="291"/>
                        </a:lnTo>
                        <a:lnTo>
                          <a:pt x="138" y="286"/>
                        </a:lnTo>
                        <a:lnTo>
                          <a:pt x="135" y="286"/>
                        </a:lnTo>
                        <a:lnTo>
                          <a:pt x="134" y="288"/>
                        </a:lnTo>
                        <a:lnTo>
                          <a:pt x="120" y="288"/>
                        </a:lnTo>
                        <a:lnTo>
                          <a:pt x="120" y="284"/>
                        </a:lnTo>
                        <a:lnTo>
                          <a:pt x="104" y="282"/>
                        </a:lnTo>
                        <a:lnTo>
                          <a:pt x="102" y="279"/>
                        </a:lnTo>
                        <a:lnTo>
                          <a:pt x="100" y="275"/>
                        </a:lnTo>
                        <a:lnTo>
                          <a:pt x="95" y="270"/>
                        </a:lnTo>
                        <a:lnTo>
                          <a:pt x="92" y="269"/>
                        </a:lnTo>
                        <a:lnTo>
                          <a:pt x="88" y="269"/>
                        </a:lnTo>
                        <a:lnTo>
                          <a:pt x="83" y="270"/>
                        </a:lnTo>
                        <a:lnTo>
                          <a:pt x="80" y="270"/>
                        </a:lnTo>
                        <a:lnTo>
                          <a:pt x="77" y="267"/>
                        </a:lnTo>
                        <a:lnTo>
                          <a:pt x="74" y="267"/>
                        </a:lnTo>
                        <a:lnTo>
                          <a:pt x="73" y="269"/>
                        </a:lnTo>
                        <a:lnTo>
                          <a:pt x="70" y="269"/>
                        </a:lnTo>
                        <a:lnTo>
                          <a:pt x="68" y="270"/>
                        </a:lnTo>
                        <a:lnTo>
                          <a:pt x="65" y="272"/>
                        </a:lnTo>
                        <a:lnTo>
                          <a:pt x="63" y="270"/>
                        </a:lnTo>
                        <a:lnTo>
                          <a:pt x="61" y="267"/>
                        </a:lnTo>
                        <a:lnTo>
                          <a:pt x="58" y="264"/>
                        </a:lnTo>
                        <a:lnTo>
                          <a:pt x="55" y="263"/>
                        </a:lnTo>
                        <a:lnTo>
                          <a:pt x="49" y="257"/>
                        </a:lnTo>
                        <a:lnTo>
                          <a:pt x="42" y="257"/>
                        </a:lnTo>
                        <a:lnTo>
                          <a:pt x="39" y="258"/>
                        </a:lnTo>
                        <a:lnTo>
                          <a:pt x="36" y="258"/>
                        </a:lnTo>
                        <a:lnTo>
                          <a:pt x="27" y="263"/>
                        </a:lnTo>
                        <a:lnTo>
                          <a:pt x="18" y="263"/>
                        </a:lnTo>
                        <a:lnTo>
                          <a:pt x="14" y="261"/>
                        </a:lnTo>
                        <a:lnTo>
                          <a:pt x="8" y="255"/>
                        </a:lnTo>
                        <a:lnTo>
                          <a:pt x="6" y="252"/>
                        </a:lnTo>
                        <a:lnTo>
                          <a:pt x="5" y="251"/>
                        </a:lnTo>
                        <a:lnTo>
                          <a:pt x="5" y="250"/>
                        </a:lnTo>
                        <a:lnTo>
                          <a:pt x="8" y="236"/>
                        </a:lnTo>
                        <a:lnTo>
                          <a:pt x="8" y="235"/>
                        </a:lnTo>
                        <a:lnTo>
                          <a:pt x="6" y="233"/>
                        </a:lnTo>
                        <a:lnTo>
                          <a:pt x="5" y="230"/>
                        </a:lnTo>
                        <a:lnTo>
                          <a:pt x="3" y="229"/>
                        </a:lnTo>
                        <a:lnTo>
                          <a:pt x="0" y="223"/>
                        </a:lnTo>
                        <a:lnTo>
                          <a:pt x="0" y="220"/>
                        </a:lnTo>
                        <a:lnTo>
                          <a:pt x="3" y="220"/>
                        </a:lnTo>
                        <a:lnTo>
                          <a:pt x="5" y="221"/>
                        </a:lnTo>
                        <a:lnTo>
                          <a:pt x="6" y="221"/>
                        </a:lnTo>
                        <a:lnTo>
                          <a:pt x="8" y="223"/>
                        </a:lnTo>
                        <a:lnTo>
                          <a:pt x="11" y="224"/>
                        </a:lnTo>
                        <a:lnTo>
                          <a:pt x="15" y="229"/>
                        </a:lnTo>
                        <a:lnTo>
                          <a:pt x="17" y="227"/>
                        </a:lnTo>
                        <a:lnTo>
                          <a:pt x="20" y="227"/>
                        </a:lnTo>
                        <a:lnTo>
                          <a:pt x="26" y="233"/>
                        </a:lnTo>
                        <a:lnTo>
                          <a:pt x="31" y="233"/>
                        </a:lnTo>
                        <a:lnTo>
                          <a:pt x="34" y="232"/>
                        </a:lnTo>
                        <a:lnTo>
                          <a:pt x="40" y="232"/>
                        </a:lnTo>
                        <a:lnTo>
                          <a:pt x="42" y="230"/>
                        </a:lnTo>
                        <a:lnTo>
                          <a:pt x="43" y="230"/>
                        </a:lnTo>
                        <a:lnTo>
                          <a:pt x="43" y="229"/>
                        </a:lnTo>
                        <a:lnTo>
                          <a:pt x="45" y="227"/>
                        </a:lnTo>
                        <a:lnTo>
                          <a:pt x="46" y="224"/>
                        </a:lnTo>
                        <a:lnTo>
                          <a:pt x="48" y="223"/>
                        </a:lnTo>
                        <a:lnTo>
                          <a:pt x="52" y="221"/>
                        </a:lnTo>
                        <a:lnTo>
                          <a:pt x="63" y="217"/>
                        </a:lnTo>
                        <a:lnTo>
                          <a:pt x="76" y="211"/>
                        </a:lnTo>
                        <a:lnTo>
                          <a:pt x="91" y="207"/>
                        </a:lnTo>
                        <a:lnTo>
                          <a:pt x="108" y="201"/>
                        </a:lnTo>
                        <a:lnTo>
                          <a:pt x="116" y="199"/>
                        </a:lnTo>
                        <a:lnTo>
                          <a:pt x="120" y="201"/>
                        </a:lnTo>
                        <a:lnTo>
                          <a:pt x="120" y="202"/>
                        </a:lnTo>
                        <a:lnTo>
                          <a:pt x="129" y="211"/>
                        </a:lnTo>
                        <a:lnTo>
                          <a:pt x="132" y="210"/>
                        </a:lnTo>
                        <a:lnTo>
                          <a:pt x="139" y="205"/>
                        </a:lnTo>
                        <a:lnTo>
                          <a:pt x="154" y="193"/>
                        </a:lnTo>
                        <a:lnTo>
                          <a:pt x="157" y="189"/>
                        </a:lnTo>
                        <a:lnTo>
                          <a:pt x="157" y="186"/>
                        </a:lnTo>
                        <a:lnTo>
                          <a:pt x="159" y="183"/>
                        </a:lnTo>
                        <a:lnTo>
                          <a:pt x="159" y="179"/>
                        </a:lnTo>
                        <a:lnTo>
                          <a:pt x="160" y="174"/>
                        </a:lnTo>
                        <a:lnTo>
                          <a:pt x="160" y="171"/>
                        </a:lnTo>
                        <a:lnTo>
                          <a:pt x="169" y="171"/>
                        </a:lnTo>
                        <a:lnTo>
                          <a:pt x="172" y="170"/>
                        </a:lnTo>
                        <a:lnTo>
                          <a:pt x="173" y="168"/>
                        </a:lnTo>
                        <a:lnTo>
                          <a:pt x="175" y="165"/>
                        </a:lnTo>
                        <a:lnTo>
                          <a:pt x="175" y="155"/>
                        </a:lnTo>
                        <a:lnTo>
                          <a:pt x="173" y="152"/>
                        </a:lnTo>
                        <a:lnTo>
                          <a:pt x="171" y="149"/>
                        </a:lnTo>
                        <a:lnTo>
                          <a:pt x="156" y="137"/>
                        </a:lnTo>
                        <a:lnTo>
                          <a:pt x="148" y="130"/>
                        </a:lnTo>
                        <a:lnTo>
                          <a:pt x="142" y="125"/>
                        </a:lnTo>
                        <a:lnTo>
                          <a:pt x="141" y="124"/>
                        </a:lnTo>
                        <a:lnTo>
                          <a:pt x="128" y="118"/>
                        </a:lnTo>
                        <a:lnTo>
                          <a:pt x="120" y="116"/>
                        </a:lnTo>
                        <a:lnTo>
                          <a:pt x="120" y="109"/>
                        </a:lnTo>
                        <a:lnTo>
                          <a:pt x="122" y="106"/>
                        </a:lnTo>
                        <a:lnTo>
                          <a:pt x="123" y="105"/>
                        </a:lnTo>
                        <a:lnTo>
                          <a:pt x="123" y="102"/>
                        </a:lnTo>
                        <a:lnTo>
                          <a:pt x="125" y="100"/>
                        </a:lnTo>
                        <a:lnTo>
                          <a:pt x="138" y="100"/>
                        </a:lnTo>
                        <a:lnTo>
                          <a:pt x="138" y="99"/>
                        </a:lnTo>
                        <a:lnTo>
                          <a:pt x="141" y="96"/>
                        </a:lnTo>
                        <a:lnTo>
                          <a:pt x="144" y="94"/>
                        </a:lnTo>
                        <a:lnTo>
                          <a:pt x="145" y="93"/>
                        </a:lnTo>
                        <a:lnTo>
                          <a:pt x="144" y="91"/>
                        </a:lnTo>
                        <a:lnTo>
                          <a:pt x="144" y="88"/>
                        </a:lnTo>
                        <a:lnTo>
                          <a:pt x="145" y="87"/>
                        </a:lnTo>
                        <a:lnTo>
                          <a:pt x="148" y="87"/>
                        </a:lnTo>
                        <a:lnTo>
                          <a:pt x="150" y="72"/>
                        </a:lnTo>
                        <a:lnTo>
                          <a:pt x="154" y="72"/>
                        </a:lnTo>
                        <a:lnTo>
                          <a:pt x="157" y="74"/>
                        </a:lnTo>
                        <a:lnTo>
                          <a:pt x="185" y="74"/>
                        </a:lnTo>
                        <a:lnTo>
                          <a:pt x="190" y="69"/>
                        </a:lnTo>
                        <a:lnTo>
                          <a:pt x="191" y="66"/>
                        </a:lnTo>
                        <a:lnTo>
                          <a:pt x="193" y="65"/>
                        </a:lnTo>
                        <a:lnTo>
                          <a:pt x="194" y="65"/>
                        </a:lnTo>
                        <a:lnTo>
                          <a:pt x="196" y="63"/>
                        </a:lnTo>
                        <a:lnTo>
                          <a:pt x="196" y="60"/>
                        </a:lnTo>
                        <a:lnTo>
                          <a:pt x="197" y="56"/>
                        </a:lnTo>
                        <a:lnTo>
                          <a:pt x="197" y="53"/>
                        </a:lnTo>
                        <a:lnTo>
                          <a:pt x="200" y="47"/>
                        </a:lnTo>
                        <a:lnTo>
                          <a:pt x="203" y="45"/>
                        </a:lnTo>
                        <a:lnTo>
                          <a:pt x="210" y="38"/>
                        </a:lnTo>
                        <a:lnTo>
                          <a:pt x="224" y="37"/>
                        </a:lnTo>
                        <a:lnTo>
                          <a:pt x="239" y="11"/>
                        </a:lnTo>
                        <a:lnTo>
                          <a:pt x="243" y="7"/>
                        </a:lnTo>
                        <a:lnTo>
                          <a:pt x="256" y="7"/>
                        </a:lnTo>
                        <a:lnTo>
                          <a:pt x="262" y="1"/>
                        </a:lnTo>
                        <a:lnTo>
                          <a:pt x="270" y="1"/>
                        </a:lnTo>
                        <a:lnTo>
                          <a:pt x="273" y="0"/>
                        </a:lnTo>
                        <a:close/>
                      </a:path>
                    </a:pathLst>
                  </a:custGeom>
                  <a:solidFill>
                    <a:schemeClr val="accent3">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25" name="Freeform 305" descr="© INSCALE GmbH, 21.06.2010"/>
                  <p:cNvSpPr>
                    <a:spLocks noChangeAspect="1"/>
                  </p:cNvSpPr>
                  <p:nvPr/>
                </p:nvSpPr>
                <p:spPr bwMode="auto">
                  <a:xfrm>
                    <a:off x="3283314" y="3306142"/>
                    <a:ext cx="341245" cy="284371"/>
                  </a:xfrm>
                  <a:custGeom>
                    <a:avLst/>
                    <a:gdLst>
                      <a:gd name="T0" fmla="*/ 2147483646 w 357"/>
                      <a:gd name="T1" fmla="*/ 2147483646 h 297"/>
                      <a:gd name="T2" fmla="*/ 2147483646 w 357"/>
                      <a:gd name="T3" fmla="*/ 2147483646 h 297"/>
                      <a:gd name="T4" fmla="*/ 2147483646 w 357"/>
                      <a:gd name="T5" fmla="*/ 2147483646 h 297"/>
                      <a:gd name="T6" fmla="*/ 2147483646 w 357"/>
                      <a:gd name="T7" fmla="*/ 2147483646 h 297"/>
                      <a:gd name="T8" fmla="*/ 2147483646 w 357"/>
                      <a:gd name="T9" fmla="*/ 2147483646 h 297"/>
                      <a:gd name="T10" fmla="*/ 2147483646 w 357"/>
                      <a:gd name="T11" fmla="*/ 2147483646 h 297"/>
                      <a:gd name="T12" fmla="*/ 2147483646 w 357"/>
                      <a:gd name="T13" fmla="*/ 2147483646 h 297"/>
                      <a:gd name="T14" fmla="*/ 2147483646 w 357"/>
                      <a:gd name="T15" fmla="*/ 2147483646 h 297"/>
                      <a:gd name="T16" fmla="*/ 2147483646 w 357"/>
                      <a:gd name="T17" fmla="*/ 2147483646 h 297"/>
                      <a:gd name="T18" fmla="*/ 2147483646 w 357"/>
                      <a:gd name="T19" fmla="*/ 2147483646 h 297"/>
                      <a:gd name="T20" fmla="*/ 2147483646 w 357"/>
                      <a:gd name="T21" fmla="*/ 2147483646 h 297"/>
                      <a:gd name="T22" fmla="*/ 2147483646 w 357"/>
                      <a:gd name="T23" fmla="*/ 2147483646 h 297"/>
                      <a:gd name="T24" fmla="*/ 2147483646 w 357"/>
                      <a:gd name="T25" fmla="*/ 2147483646 h 297"/>
                      <a:gd name="T26" fmla="*/ 2147483646 w 357"/>
                      <a:gd name="T27" fmla="*/ 2147483646 h 297"/>
                      <a:gd name="T28" fmla="*/ 2147483646 w 357"/>
                      <a:gd name="T29" fmla="*/ 2147483646 h 297"/>
                      <a:gd name="T30" fmla="*/ 2147483646 w 357"/>
                      <a:gd name="T31" fmla="*/ 2147483646 h 297"/>
                      <a:gd name="T32" fmla="*/ 2147483646 w 357"/>
                      <a:gd name="T33" fmla="*/ 2147483646 h 297"/>
                      <a:gd name="T34" fmla="*/ 2147483646 w 357"/>
                      <a:gd name="T35" fmla="*/ 2147483646 h 297"/>
                      <a:gd name="T36" fmla="*/ 2147483646 w 357"/>
                      <a:gd name="T37" fmla="*/ 2147483646 h 297"/>
                      <a:gd name="T38" fmla="*/ 2147483646 w 357"/>
                      <a:gd name="T39" fmla="*/ 2147483646 h 297"/>
                      <a:gd name="T40" fmla="*/ 2147483646 w 357"/>
                      <a:gd name="T41" fmla="*/ 2147483646 h 297"/>
                      <a:gd name="T42" fmla="*/ 2147483646 w 357"/>
                      <a:gd name="T43" fmla="*/ 2147483646 h 297"/>
                      <a:gd name="T44" fmla="*/ 2147483646 w 357"/>
                      <a:gd name="T45" fmla="*/ 2147483646 h 297"/>
                      <a:gd name="T46" fmla="*/ 2147483646 w 357"/>
                      <a:gd name="T47" fmla="*/ 2147483646 h 297"/>
                      <a:gd name="T48" fmla="*/ 2147483646 w 357"/>
                      <a:gd name="T49" fmla="*/ 2147483646 h 297"/>
                      <a:gd name="T50" fmla="*/ 2147483646 w 357"/>
                      <a:gd name="T51" fmla="*/ 2147483646 h 297"/>
                      <a:gd name="T52" fmla="*/ 2147483646 w 357"/>
                      <a:gd name="T53" fmla="*/ 2147483646 h 297"/>
                      <a:gd name="T54" fmla="*/ 2147483646 w 357"/>
                      <a:gd name="T55" fmla="*/ 2147483646 h 297"/>
                      <a:gd name="T56" fmla="*/ 2147483646 w 357"/>
                      <a:gd name="T57" fmla="*/ 2147483646 h 297"/>
                      <a:gd name="T58" fmla="*/ 2147483646 w 357"/>
                      <a:gd name="T59" fmla="*/ 2147483646 h 297"/>
                      <a:gd name="T60" fmla="*/ 2147483646 w 357"/>
                      <a:gd name="T61" fmla="*/ 2147483646 h 297"/>
                      <a:gd name="T62" fmla="*/ 2147483646 w 357"/>
                      <a:gd name="T63" fmla="*/ 2147483646 h 297"/>
                      <a:gd name="T64" fmla="*/ 2147483646 w 357"/>
                      <a:gd name="T65" fmla="*/ 2147483646 h 297"/>
                      <a:gd name="T66" fmla="*/ 2147483646 w 357"/>
                      <a:gd name="T67" fmla="*/ 2147483646 h 297"/>
                      <a:gd name="T68" fmla="*/ 2147483646 w 357"/>
                      <a:gd name="T69" fmla="*/ 2147483646 h 297"/>
                      <a:gd name="T70" fmla="*/ 2147483646 w 357"/>
                      <a:gd name="T71" fmla="*/ 2147483646 h 297"/>
                      <a:gd name="T72" fmla="*/ 2147483646 w 357"/>
                      <a:gd name="T73" fmla="*/ 2147483646 h 297"/>
                      <a:gd name="T74" fmla="*/ 2147483646 w 357"/>
                      <a:gd name="T75" fmla="*/ 2147483646 h 297"/>
                      <a:gd name="T76" fmla="*/ 2147483646 w 357"/>
                      <a:gd name="T77" fmla="*/ 2147483646 h 297"/>
                      <a:gd name="T78" fmla="*/ 2147483646 w 357"/>
                      <a:gd name="T79" fmla="*/ 2147483646 h 297"/>
                      <a:gd name="T80" fmla="*/ 2147483646 w 357"/>
                      <a:gd name="T81" fmla="*/ 2147483646 h 297"/>
                      <a:gd name="T82" fmla="*/ 2147483646 w 357"/>
                      <a:gd name="T83" fmla="*/ 2147483646 h 297"/>
                      <a:gd name="T84" fmla="*/ 2147483646 w 357"/>
                      <a:gd name="T85" fmla="*/ 2147483646 h 297"/>
                      <a:gd name="T86" fmla="*/ 2147483646 w 357"/>
                      <a:gd name="T87" fmla="*/ 2147483646 h 297"/>
                      <a:gd name="T88" fmla="*/ 2147483646 w 357"/>
                      <a:gd name="T89" fmla="*/ 2147483646 h 297"/>
                      <a:gd name="T90" fmla="*/ 2147483646 w 357"/>
                      <a:gd name="T91" fmla="*/ 2147483646 h 297"/>
                      <a:gd name="T92" fmla="*/ 2147483646 w 357"/>
                      <a:gd name="T93" fmla="*/ 2147483646 h 297"/>
                      <a:gd name="T94" fmla="*/ 2147483646 w 357"/>
                      <a:gd name="T95" fmla="*/ 2147483646 h 297"/>
                      <a:gd name="T96" fmla="*/ 2147483646 w 357"/>
                      <a:gd name="T97" fmla="*/ 2147483646 h 297"/>
                      <a:gd name="T98" fmla="*/ 2147483646 w 357"/>
                      <a:gd name="T99" fmla="*/ 2147483646 h 297"/>
                      <a:gd name="T100" fmla="*/ 2147483646 w 357"/>
                      <a:gd name="T101" fmla="*/ 2147483646 h 29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7"/>
                      <a:gd name="T154" fmla="*/ 0 h 297"/>
                      <a:gd name="T155" fmla="*/ 357 w 357"/>
                      <a:gd name="T156" fmla="*/ 297 h 29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7" h="297">
                        <a:moveTo>
                          <a:pt x="209" y="0"/>
                        </a:moveTo>
                        <a:lnTo>
                          <a:pt x="218" y="4"/>
                        </a:lnTo>
                        <a:lnTo>
                          <a:pt x="227" y="7"/>
                        </a:lnTo>
                        <a:lnTo>
                          <a:pt x="234" y="10"/>
                        </a:lnTo>
                        <a:lnTo>
                          <a:pt x="239" y="13"/>
                        </a:lnTo>
                        <a:lnTo>
                          <a:pt x="246" y="35"/>
                        </a:lnTo>
                        <a:lnTo>
                          <a:pt x="248" y="43"/>
                        </a:lnTo>
                        <a:lnTo>
                          <a:pt x="249" y="45"/>
                        </a:lnTo>
                        <a:lnTo>
                          <a:pt x="252" y="45"/>
                        </a:lnTo>
                        <a:lnTo>
                          <a:pt x="256" y="47"/>
                        </a:lnTo>
                        <a:lnTo>
                          <a:pt x="261" y="50"/>
                        </a:lnTo>
                        <a:lnTo>
                          <a:pt x="267" y="53"/>
                        </a:lnTo>
                        <a:lnTo>
                          <a:pt x="274" y="60"/>
                        </a:lnTo>
                        <a:lnTo>
                          <a:pt x="282" y="65"/>
                        </a:lnTo>
                        <a:lnTo>
                          <a:pt x="293" y="66"/>
                        </a:lnTo>
                        <a:lnTo>
                          <a:pt x="298" y="66"/>
                        </a:lnTo>
                        <a:lnTo>
                          <a:pt x="307" y="63"/>
                        </a:lnTo>
                        <a:lnTo>
                          <a:pt x="311" y="60"/>
                        </a:lnTo>
                        <a:lnTo>
                          <a:pt x="313" y="59"/>
                        </a:lnTo>
                        <a:lnTo>
                          <a:pt x="316" y="57"/>
                        </a:lnTo>
                        <a:lnTo>
                          <a:pt x="317" y="60"/>
                        </a:lnTo>
                        <a:lnTo>
                          <a:pt x="320" y="62"/>
                        </a:lnTo>
                        <a:lnTo>
                          <a:pt x="323" y="65"/>
                        </a:lnTo>
                        <a:lnTo>
                          <a:pt x="324" y="68"/>
                        </a:lnTo>
                        <a:lnTo>
                          <a:pt x="327" y="69"/>
                        </a:lnTo>
                        <a:lnTo>
                          <a:pt x="329" y="72"/>
                        </a:lnTo>
                        <a:lnTo>
                          <a:pt x="330" y="72"/>
                        </a:lnTo>
                        <a:lnTo>
                          <a:pt x="330" y="74"/>
                        </a:lnTo>
                        <a:lnTo>
                          <a:pt x="332" y="77"/>
                        </a:lnTo>
                        <a:lnTo>
                          <a:pt x="332" y="79"/>
                        </a:lnTo>
                        <a:lnTo>
                          <a:pt x="333" y="82"/>
                        </a:lnTo>
                        <a:lnTo>
                          <a:pt x="333" y="85"/>
                        </a:lnTo>
                        <a:lnTo>
                          <a:pt x="341" y="94"/>
                        </a:lnTo>
                        <a:lnTo>
                          <a:pt x="351" y="109"/>
                        </a:lnTo>
                        <a:lnTo>
                          <a:pt x="344" y="109"/>
                        </a:lnTo>
                        <a:lnTo>
                          <a:pt x="341" y="108"/>
                        </a:lnTo>
                        <a:lnTo>
                          <a:pt x="335" y="108"/>
                        </a:lnTo>
                        <a:lnTo>
                          <a:pt x="333" y="106"/>
                        </a:lnTo>
                        <a:lnTo>
                          <a:pt x="332" y="106"/>
                        </a:lnTo>
                        <a:lnTo>
                          <a:pt x="327" y="111"/>
                        </a:lnTo>
                        <a:lnTo>
                          <a:pt x="326" y="114"/>
                        </a:lnTo>
                        <a:lnTo>
                          <a:pt x="326" y="116"/>
                        </a:lnTo>
                        <a:lnTo>
                          <a:pt x="329" y="122"/>
                        </a:lnTo>
                        <a:lnTo>
                          <a:pt x="330" y="124"/>
                        </a:lnTo>
                        <a:lnTo>
                          <a:pt x="333" y="125"/>
                        </a:lnTo>
                        <a:lnTo>
                          <a:pt x="335" y="127"/>
                        </a:lnTo>
                        <a:lnTo>
                          <a:pt x="336" y="127"/>
                        </a:lnTo>
                        <a:lnTo>
                          <a:pt x="324" y="133"/>
                        </a:lnTo>
                        <a:lnTo>
                          <a:pt x="324" y="153"/>
                        </a:lnTo>
                        <a:lnTo>
                          <a:pt x="314" y="164"/>
                        </a:lnTo>
                        <a:lnTo>
                          <a:pt x="313" y="167"/>
                        </a:lnTo>
                        <a:lnTo>
                          <a:pt x="313" y="170"/>
                        </a:lnTo>
                        <a:lnTo>
                          <a:pt x="316" y="173"/>
                        </a:lnTo>
                        <a:lnTo>
                          <a:pt x="319" y="177"/>
                        </a:lnTo>
                        <a:lnTo>
                          <a:pt x="323" y="182"/>
                        </a:lnTo>
                        <a:lnTo>
                          <a:pt x="330" y="184"/>
                        </a:lnTo>
                        <a:lnTo>
                          <a:pt x="342" y="187"/>
                        </a:lnTo>
                        <a:lnTo>
                          <a:pt x="353" y="189"/>
                        </a:lnTo>
                        <a:lnTo>
                          <a:pt x="357" y="189"/>
                        </a:lnTo>
                        <a:lnTo>
                          <a:pt x="357" y="192"/>
                        </a:lnTo>
                        <a:lnTo>
                          <a:pt x="356" y="196"/>
                        </a:lnTo>
                        <a:lnTo>
                          <a:pt x="351" y="201"/>
                        </a:lnTo>
                        <a:lnTo>
                          <a:pt x="351" y="207"/>
                        </a:lnTo>
                        <a:lnTo>
                          <a:pt x="353" y="210"/>
                        </a:lnTo>
                        <a:lnTo>
                          <a:pt x="353" y="214"/>
                        </a:lnTo>
                        <a:lnTo>
                          <a:pt x="354" y="219"/>
                        </a:lnTo>
                        <a:lnTo>
                          <a:pt x="354" y="223"/>
                        </a:lnTo>
                        <a:lnTo>
                          <a:pt x="356" y="224"/>
                        </a:lnTo>
                        <a:lnTo>
                          <a:pt x="356" y="226"/>
                        </a:lnTo>
                        <a:lnTo>
                          <a:pt x="353" y="226"/>
                        </a:lnTo>
                        <a:lnTo>
                          <a:pt x="350" y="224"/>
                        </a:lnTo>
                        <a:lnTo>
                          <a:pt x="347" y="224"/>
                        </a:lnTo>
                        <a:lnTo>
                          <a:pt x="344" y="223"/>
                        </a:lnTo>
                        <a:lnTo>
                          <a:pt x="341" y="223"/>
                        </a:lnTo>
                        <a:lnTo>
                          <a:pt x="338" y="226"/>
                        </a:lnTo>
                        <a:lnTo>
                          <a:pt x="332" y="230"/>
                        </a:lnTo>
                        <a:lnTo>
                          <a:pt x="323" y="235"/>
                        </a:lnTo>
                        <a:lnTo>
                          <a:pt x="316" y="239"/>
                        </a:lnTo>
                        <a:lnTo>
                          <a:pt x="307" y="244"/>
                        </a:lnTo>
                        <a:lnTo>
                          <a:pt x="311" y="248"/>
                        </a:lnTo>
                        <a:lnTo>
                          <a:pt x="314" y="253"/>
                        </a:lnTo>
                        <a:lnTo>
                          <a:pt x="292" y="253"/>
                        </a:lnTo>
                        <a:lnTo>
                          <a:pt x="290" y="251"/>
                        </a:lnTo>
                        <a:lnTo>
                          <a:pt x="290" y="248"/>
                        </a:lnTo>
                        <a:lnTo>
                          <a:pt x="289" y="247"/>
                        </a:lnTo>
                        <a:lnTo>
                          <a:pt x="282" y="247"/>
                        </a:lnTo>
                        <a:lnTo>
                          <a:pt x="279" y="245"/>
                        </a:lnTo>
                        <a:lnTo>
                          <a:pt x="276" y="245"/>
                        </a:lnTo>
                        <a:lnTo>
                          <a:pt x="273" y="242"/>
                        </a:lnTo>
                        <a:lnTo>
                          <a:pt x="271" y="242"/>
                        </a:lnTo>
                        <a:lnTo>
                          <a:pt x="268" y="241"/>
                        </a:lnTo>
                        <a:lnTo>
                          <a:pt x="267" y="239"/>
                        </a:lnTo>
                        <a:lnTo>
                          <a:pt x="261" y="239"/>
                        </a:lnTo>
                        <a:lnTo>
                          <a:pt x="259" y="241"/>
                        </a:lnTo>
                        <a:lnTo>
                          <a:pt x="253" y="241"/>
                        </a:lnTo>
                        <a:lnTo>
                          <a:pt x="250" y="242"/>
                        </a:lnTo>
                        <a:lnTo>
                          <a:pt x="246" y="251"/>
                        </a:lnTo>
                        <a:lnTo>
                          <a:pt x="243" y="255"/>
                        </a:lnTo>
                        <a:lnTo>
                          <a:pt x="243" y="257"/>
                        </a:lnTo>
                        <a:lnTo>
                          <a:pt x="242" y="257"/>
                        </a:lnTo>
                        <a:lnTo>
                          <a:pt x="239" y="260"/>
                        </a:lnTo>
                        <a:lnTo>
                          <a:pt x="239" y="267"/>
                        </a:lnTo>
                        <a:lnTo>
                          <a:pt x="231" y="278"/>
                        </a:lnTo>
                        <a:lnTo>
                          <a:pt x="222" y="278"/>
                        </a:lnTo>
                        <a:lnTo>
                          <a:pt x="211" y="264"/>
                        </a:lnTo>
                        <a:lnTo>
                          <a:pt x="209" y="270"/>
                        </a:lnTo>
                        <a:lnTo>
                          <a:pt x="205" y="270"/>
                        </a:lnTo>
                        <a:lnTo>
                          <a:pt x="203" y="272"/>
                        </a:lnTo>
                        <a:lnTo>
                          <a:pt x="202" y="272"/>
                        </a:lnTo>
                        <a:lnTo>
                          <a:pt x="200" y="270"/>
                        </a:lnTo>
                        <a:lnTo>
                          <a:pt x="199" y="267"/>
                        </a:lnTo>
                        <a:lnTo>
                          <a:pt x="197" y="266"/>
                        </a:lnTo>
                        <a:lnTo>
                          <a:pt x="196" y="263"/>
                        </a:lnTo>
                        <a:lnTo>
                          <a:pt x="196" y="261"/>
                        </a:lnTo>
                        <a:lnTo>
                          <a:pt x="194" y="260"/>
                        </a:lnTo>
                        <a:lnTo>
                          <a:pt x="188" y="260"/>
                        </a:lnTo>
                        <a:lnTo>
                          <a:pt x="185" y="266"/>
                        </a:lnTo>
                        <a:lnTo>
                          <a:pt x="166" y="275"/>
                        </a:lnTo>
                        <a:lnTo>
                          <a:pt x="165" y="285"/>
                        </a:lnTo>
                        <a:lnTo>
                          <a:pt x="156" y="289"/>
                        </a:lnTo>
                        <a:lnTo>
                          <a:pt x="154" y="297"/>
                        </a:lnTo>
                        <a:lnTo>
                          <a:pt x="142" y="297"/>
                        </a:lnTo>
                        <a:lnTo>
                          <a:pt x="134" y="291"/>
                        </a:lnTo>
                        <a:lnTo>
                          <a:pt x="131" y="292"/>
                        </a:lnTo>
                        <a:lnTo>
                          <a:pt x="123" y="292"/>
                        </a:lnTo>
                        <a:lnTo>
                          <a:pt x="123" y="285"/>
                        </a:lnTo>
                        <a:lnTo>
                          <a:pt x="125" y="282"/>
                        </a:lnTo>
                        <a:lnTo>
                          <a:pt x="123" y="282"/>
                        </a:lnTo>
                        <a:lnTo>
                          <a:pt x="125" y="281"/>
                        </a:lnTo>
                        <a:lnTo>
                          <a:pt x="125" y="279"/>
                        </a:lnTo>
                        <a:lnTo>
                          <a:pt x="116" y="272"/>
                        </a:lnTo>
                        <a:lnTo>
                          <a:pt x="114" y="272"/>
                        </a:lnTo>
                        <a:lnTo>
                          <a:pt x="113" y="273"/>
                        </a:lnTo>
                        <a:lnTo>
                          <a:pt x="108" y="273"/>
                        </a:lnTo>
                        <a:lnTo>
                          <a:pt x="107" y="275"/>
                        </a:lnTo>
                        <a:lnTo>
                          <a:pt x="107" y="278"/>
                        </a:lnTo>
                        <a:lnTo>
                          <a:pt x="104" y="279"/>
                        </a:lnTo>
                        <a:lnTo>
                          <a:pt x="100" y="275"/>
                        </a:lnTo>
                        <a:lnTo>
                          <a:pt x="97" y="273"/>
                        </a:lnTo>
                        <a:lnTo>
                          <a:pt x="92" y="270"/>
                        </a:lnTo>
                        <a:lnTo>
                          <a:pt x="88" y="270"/>
                        </a:lnTo>
                        <a:lnTo>
                          <a:pt x="79" y="267"/>
                        </a:lnTo>
                        <a:lnTo>
                          <a:pt x="76" y="266"/>
                        </a:lnTo>
                        <a:lnTo>
                          <a:pt x="73" y="263"/>
                        </a:lnTo>
                        <a:lnTo>
                          <a:pt x="71" y="260"/>
                        </a:lnTo>
                        <a:lnTo>
                          <a:pt x="70" y="258"/>
                        </a:lnTo>
                        <a:lnTo>
                          <a:pt x="70" y="257"/>
                        </a:lnTo>
                        <a:lnTo>
                          <a:pt x="63" y="258"/>
                        </a:lnTo>
                        <a:lnTo>
                          <a:pt x="63" y="232"/>
                        </a:lnTo>
                        <a:lnTo>
                          <a:pt x="55" y="219"/>
                        </a:lnTo>
                        <a:lnTo>
                          <a:pt x="43" y="221"/>
                        </a:lnTo>
                        <a:lnTo>
                          <a:pt x="40" y="220"/>
                        </a:lnTo>
                        <a:lnTo>
                          <a:pt x="34" y="216"/>
                        </a:lnTo>
                        <a:lnTo>
                          <a:pt x="20" y="207"/>
                        </a:lnTo>
                        <a:lnTo>
                          <a:pt x="14" y="201"/>
                        </a:lnTo>
                        <a:lnTo>
                          <a:pt x="14" y="195"/>
                        </a:lnTo>
                        <a:lnTo>
                          <a:pt x="15" y="193"/>
                        </a:lnTo>
                        <a:lnTo>
                          <a:pt x="17" y="190"/>
                        </a:lnTo>
                        <a:lnTo>
                          <a:pt x="17" y="189"/>
                        </a:lnTo>
                        <a:lnTo>
                          <a:pt x="15" y="186"/>
                        </a:lnTo>
                        <a:lnTo>
                          <a:pt x="0" y="170"/>
                        </a:lnTo>
                        <a:lnTo>
                          <a:pt x="0" y="145"/>
                        </a:lnTo>
                        <a:lnTo>
                          <a:pt x="8" y="136"/>
                        </a:lnTo>
                        <a:lnTo>
                          <a:pt x="12" y="131"/>
                        </a:lnTo>
                        <a:lnTo>
                          <a:pt x="18" y="131"/>
                        </a:lnTo>
                        <a:lnTo>
                          <a:pt x="21" y="125"/>
                        </a:lnTo>
                        <a:lnTo>
                          <a:pt x="23" y="124"/>
                        </a:lnTo>
                        <a:lnTo>
                          <a:pt x="23" y="122"/>
                        </a:lnTo>
                        <a:lnTo>
                          <a:pt x="33" y="122"/>
                        </a:lnTo>
                        <a:lnTo>
                          <a:pt x="88" y="124"/>
                        </a:lnTo>
                        <a:lnTo>
                          <a:pt x="89" y="124"/>
                        </a:lnTo>
                        <a:lnTo>
                          <a:pt x="94" y="119"/>
                        </a:lnTo>
                        <a:lnTo>
                          <a:pt x="97" y="118"/>
                        </a:lnTo>
                        <a:lnTo>
                          <a:pt x="100" y="115"/>
                        </a:lnTo>
                        <a:lnTo>
                          <a:pt x="103" y="114"/>
                        </a:lnTo>
                        <a:lnTo>
                          <a:pt x="107" y="114"/>
                        </a:lnTo>
                        <a:lnTo>
                          <a:pt x="119" y="102"/>
                        </a:lnTo>
                        <a:lnTo>
                          <a:pt x="120" y="99"/>
                        </a:lnTo>
                        <a:lnTo>
                          <a:pt x="122" y="99"/>
                        </a:lnTo>
                        <a:lnTo>
                          <a:pt x="123" y="97"/>
                        </a:lnTo>
                        <a:lnTo>
                          <a:pt x="128" y="97"/>
                        </a:lnTo>
                        <a:lnTo>
                          <a:pt x="131" y="96"/>
                        </a:lnTo>
                        <a:lnTo>
                          <a:pt x="135" y="96"/>
                        </a:lnTo>
                        <a:lnTo>
                          <a:pt x="138" y="94"/>
                        </a:lnTo>
                        <a:lnTo>
                          <a:pt x="140" y="91"/>
                        </a:lnTo>
                        <a:lnTo>
                          <a:pt x="141" y="90"/>
                        </a:lnTo>
                        <a:lnTo>
                          <a:pt x="142" y="87"/>
                        </a:lnTo>
                        <a:lnTo>
                          <a:pt x="142" y="84"/>
                        </a:lnTo>
                        <a:lnTo>
                          <a:pt x="145" y="82"/>
                        </a:lnTo>
                        <a:lnTo>
                          <a:pt x="153" y="77"/>
                        </a:lnTo>
                        <a:lnTo>
                          <a:pt x="162" y="71"/>
                        </a:lnTo>
                        <a:lnTo>
                          <a:pt x="169" y="66"/>
                        </a:lnTo>
                        <a:lnTo>
                          <a:pt x="175" y="63"/>
                        </a:lnTo>
                        <a:lnTo>
                          <a:pt x="178" y="63"/>
                        </a:lnTo>
                        <a:lnTo>
                          <a:pt x="182" y="62"/>
                        </a:lnTo>
                        <a:lnTo>
                          <a:pt x="187" y="62"/>
                        </a:lnTo>
                        <a:lnTo>
                          <a:pt x="190" y="60"/>
                        </a:lnTo>
                        <a:lnTo>
                          <a:pt x="194" y="60"/>
                        </a:lnTo>
                        <a:lnTo>
                          <a:pt x="196" y="57"/>
                        </a:lnTo>
                        <a:lnTo>
                          <a:pt x="199" y="50"/>
                        </a:lnTo>
                        <a:lnTo>
                          <a:pt x="202" y="41"/>
                        </a:lnTo>
                        <a:lnTo>
                          <a:pt x="203" y="35"/>
                        </a:lnTo>
                        <a:lnTo>
                          <a:pt x="203" y="34"/>
                        </a:lnTo>
                        <a:lnTo>
                          <a:pt x="194" y="25"/>
                        </a:lnTo>
                        <a:lnTo>
                          <a:pt x="191" y="23"/>
                        </a:lnTo>
                        <a:lnTo>
                          <a:pt x="209" y="0"/>
                        </a:lnTo>
                        <a:close/>
                      </a:path>
                    </a:pathLst>
                  </a:custGeom>
                  <a:solidFill>
                    <a:schemeClr val="accent1">
                      <a:lumMod val="75000"/>
                    </a:schemeClr>
                  </a:solid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endParaRPr lang="de-DE" sz="9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endParaRPr lang="de-DE" sz="900" kern="0" dirty="0">
                      <a:solidFill>
                        <a:srgbClr val="FFFFFF"/>
                      </a:solidFill>
                      <a:latin typeface="Calibri"/>
                      <a:ea typeface="MS PGothic" charset="0"/>
                      <a:cs typeface="Latha" panose="020B0604020202020204" pitchFamily="34" charset="0"/>
                    </a:endParaRPr>
                  </a:p>
                  <a:p>
                    <a:pPr eaLnBrk="1" fontAlgn="auto" hangingPunct="1">
                      <a:spcBef>
                        <a:spcPts val="0"/>
                      </a:spcBef>
                      <a:spcAft>
                        <a:spcPts val="0"/>
                      </a:spcAft>
                      <a:defRPr/>
                    </a:pPr>
                    <a:r>
                      <a:rPr lang="de-DE" sz="900" kern="0" dirty="0">
                        <a:solidFill>
                          <a:srgbClr val="FFFFFF"/>
                        </a:solidFill>
                        <a:latin typeface="Calibri"/>
                        <a:ea typeface="MS PGothic" charset="0"/>
                        <a:cs typeface="Latha" panose="020B0604020202020204" pitchFamily="34" charset="0"/>
                      </a:rPr>
                      <a:t>      </a:t>
                    </a:r>
                  </a:p>
                  <a:p>
                    <a:pPr eaLnBrk="1" fontAlgn="auto" hangingPunct="1">
                      <a:spcBef>
                        <a:spcPts val="0"/>
                      </a:spcBef>
                      <a:spcAft>
                        <a:spcPts val="0"/>
                      </a:spcAft>
                      <a:defRPr/>
                    </a:pPr>
                    <a:r>
                      <a:rPr lang="de-DE" sz="850" kern="0" dirty="0">
                        <a:solidFill>
                          <a:srgbClr val="FFFFFF"/>
                        </a:solidFill>
                        <a:latin typeface="Calibri"/>
                        <a:ea typeface="MS PGothic" charset="0"/>
                        <a:cs typeface="Latha" panose="020B0604020202020204" pitchFamily="34" charset="0"/>
                      </a:rPr>
                      <a:t>         Kreis Steinfurt</a:t>
                    </a:r>
                  </a:p>
                </p:txBody>
              </p:sp>
              <p:sp>
                <p:nvSpPr>
                  <p:cNvPr id="126" name="Freeform 306" descr="© INSCALE GmbH, 21.06.2010"/>
                  <p:cNvSpPr>
                    <a:spLocks noChangeAspect="1"/>
                  </p:cNvSpPr>
                  <p:nvPr/>
                </p:nvSpPr>
                <p:spPr bwMode="auto">
                  <a:xfrm>
                    <a:off x="3344350" y="3827720"/>
                    <a:ext cx="122071" cy="108200"/>
                  </a:xfrm>
                  <a:custGeom>
                    <a:avLst/>
                    <a:gdLst>
                      <a:gd name="T0" fmla="*/ 2147483646 w 129"/>
                      <a:gd name="T1" fmla="*/ 2147483646 h 114"/>
                      <a:gd name="T2" fmla="*/ 2147483646 w 129"/>
                      <a:gd name="T3" fmla="*/ 2147483646 h 114"/>
                      <a:gd name="T4" fmla="*/ 2147483646 w 129"/>
                      <a:gd name="T5" fmla="*/ 2147483646 h 114"/>
                      <a:gd name="T6" fmla="*/ 2147483646 w 129"/>
                      <a:gd name="T7" fmla="*/ 2147483646 h 114"/>
                      <a:gd name="T8" fmla="*/ 2147483646 w 129"/>
                      <a:gd name="T9" fmla="*/ 2147483646 h 114"/>
                      <a:gd name="T10" fmla="*/ 2147483646 w 129"/>
                      <a:gd name="T11" fmla="*/ 2147483646 h 114"/>
                      <a:gd name="T12" fmla="*/ 2147483646 w 129"/>
                      <a:gd name="T13" fmla="*/ 2147483646 h 114"/>
                      <a:gd name="T14" fmla="*/ 2147483646 w 129"/>
                      <a:gd name="T15" fmla="*/ 2147483646 h 114"/>
                      <a:gd name="T16" fmla="*/ 2147483646 w 129"/>
                      <a:gd name="T17" fmla="*/ 2147483646 h 114"/>
                      <a:gd name="T18" fmla="*/ 2147483646 w 129"/>
                      <a:gd name="T19" fmla="*/ 2147483646 h 114"/>
                      <a:gd name="T20" fmla="*/ 2147483646 w 129"/>
                      <a:gd name="T21" fmla="*/ 2147483646 h 114"/>
                      <a:gd name="T22" fmla="*/ 2147483646 w 129"/>
                      <a:gd name="T23" fmla="*/ 2147483646 h 114"/>
                      <a:gd name="T24" fmla="*/ 2147483646 w 129"/>
                      <a:gd name="T25" fmla="*/ 2147483646 h 114"/>
                      <a:gd name="T26" fmla="*/ 2147483646 w 129"/>
                      <a:gd name="T27" fmla="*/ 2147483646 h 114"/>
                      <a:gd name="T28" fmla="*/ 2147483646 w 129"/>
                      <a:gd name="T29" fmla="*/ 2147483646 h 114"/>
                      <a:gd name="T30" fmla="*/ 2147483646 w 129"/>
                      <a:gd name="T31" fmla="*/ 2147483646 h 114"/>
                      <a:gd name="T32" fmla="*/ 2147483646 w 129"/>
                      <a:gd name="T33" fmla="*/ 2147483646 h 114"/>
                      <a:gd name="T34" fmla="*/ 2147483646 w 129"/>
                      <a:gd name="T35" fmla="*/ 2147483646 h 114"/>
                      <a:gd name="T36" fmla="*/ 2147483646 w 129"/>
                      <a:gd name="T37" fmla="*/ 2147483646 h 114"/>
                      <a:gd name="T38" fmla="*/ 2147483646 w 129"/>
                      <a:gd name="T39" fmla="*/ 2147483646 h 114"/>
                      <a:gd name="T40" fmla="*/ 2147483646 w 129"/>
                      <a:gd name="T41" fmla="*/ 2147483646 h 114"/>
                      <a:gd name="T42" fmla="*/ 2147483646 w 129"/>
                      <a:gd name="T43" fmla="*/ 2147483646 h 114"/>
                      <a:gd name="T44" fmla="*/ 2147483646 w 129"/>
                      <a:gd name="T45" fmla="*/ 2147483646 h 114"/>
                      <a:gd name="T46" fmla="*/ 2147483646 w 129"/>
                      <a:gd name="T47" fmla="*/ 2147483646 h 114"/>
                      <a:gd name="T48" fmla="*/ 2147483646 w 129"/>
                      <a:gd name="T49" fmla="*/ 2147483646 h 114"/>
                      <a:gd name="T50" fmla="*/ 2147483646 w 129"/>
                      <a:gd name="T51" fmla="*/ 2147483646 h 114"/>
                      <a:gd name="T52" fmla="*/ 2147483646 w 129"/>
                      <a:gd name="T53" fmla="*/ 2147483646 h 114"/>
                      <a:gd name="T54" fmla="*/ 2147483646 w 129"/>
                      <a:gd name="T55" fmla="*/ 2147483646 h 114"/>
                      <a:gd name="T56" fmla="*/ 2147483646 w 129"/>
                      <a:gd name="T57" fmla="*/ 2147483646 h 114"/>
                      <a:gd name="T58" fmla="*/ 2147483646 w 129"/>
                      <a:gd name="T59" fmla="*/ 2147483646 h 114"/>
                      <a:gd name="T60" fmla="*/ 2147483646 w 129"/>
                      <a:gd name="T61" fmla="*/ 2147483646 h 114"/>
                      <a:gd name="T62" fmla="*/ 2147483646 w 129"/>
                      <a:gd name="T63" fmla="*/ 2147483646 h 114"/>
                      <a:gd name="T64" fmla="*/ 2147483646 w 129"/>
                      <a:gd name="T65" fmla="*/ 2147483646 h 114"/>
                      <a:gd name="T66" fmla="*/ 2147483646 w 129"/>
                      <a:gd name="T67" fmla="*/ 2147483646 h 114"/>
                      <a:gd name="T68" fmla="*/ 2147483646 w 129"/>
                      <a:gd name="T69" fmla="*/ 2147483646 h 114"/>
                      <a:gd name="T70" fmla="*/ 2147483646 w 129"/>
                      <a:gd name="T71" fmla="*/ 2147483646 h 114"/>
                      <a:gd name="T72" fmla="*/ 2147483646 w 129"/>
                      <a:gd name="T73" fmla="*/ 2147483646 h 114"/>
                      <a:gd name="T74" fmla="*/ 2147483646 w 129"/>
                      <a:gd name="T75" fmla="*/ 2147483646 h 114"/>
                      <a:gd name="T76" fmla="*/ 2147483646 w 129"/>
                      <a:gd name="T77" fmla="*/ 2147483646 h 114"/>
                      <a:gd name="T78" fmla="*/ 2147483646 w 129"/>
                      <a:gd name="T79" fmla="*/ 2147483646 h 114"/>
                      <a:gd name="T80" fmla="*/ 2147483646 w 129"/>
                      <a:gd name="T81" fmla="*/ 2147483646 h 114"/>
                      <a:gd name="T82" fmla="*/ 0 w 129"/>
                      <a:gd name="T83" fmla="*/ 2147483646 h 114"/>
                      <a:gd name="T84" fmla="*/ 2147483646 w 129"/>
                      <a:gd name="T85" fmla="*/ 2147483646 h 114"/>
                      <a:gd name="T86" fmla="*/ 2147483646 w 129"/>
                      <a:gd name="T87" fmla="*/ 2147483646 h 114"/>
                      <a:gd name="T88" fmla="*/ 2147483646 w 129"/>
                      <a:gd name="T89" fmla="*/ 2147483646 h 114"/>
                      <a:gd name="T90" fmla="*/ 2147483646 w 129"/>
                      <a:gd name="T91" fmla="*/ 2147483646 h 114"/>
                      <a:gd name="T92" fmla="*/ 2147483646 w 129"/>
                      <a:gd name="T93" fmla="*/ 2147483646 h 114"/>
                      <a:gd name="T94" fmla="*/ 2147483646 w 129"/>
                      <a:gd name="T95" fmla="*/ 2147483646 h 114"/>
                      <a:gd name="T96" fmla="*/ 2147483646 w 129"/>
                      <a:gd name="T97" fmla="*/ 0 h 1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9"/>
                      <a:gd name="T148" fmla="*/ 0 h 114"/>
                      <a:gd name="T149" fmla="*/ 129 w 129"/>
                      <a:gd name="T150" fmla="*/ 114 h 1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9" h="114">
                        <a:moveTo>
                          <a:pt x="47" y="0"/>
                        </a:moveTo>
                        <a:lnTo>
                          <a:pt x="50" y="8"/>
                        </a:lnTo>
                        <a:lnTo>
                          <a:pt x="58" y="11"/>
                        </a:lnTo>
                        <a:lnTo>
                          <a:pt x="59" y="11"/>
                        </a:lnTo>
                        <a:lnTo>
                          <a:pt x="61" y="9"/>
                        </a:lnTo>
                        <a:lnTo>
                          <a:pt x="64" y="8"/>
                        </a:lnTo>
                        <a:lnTo>
                          <a:pt x="67" y="8"/>
                        </a:lnTo>
                        <a:lnTo>
                          <a:pt x="70" y="6"/>
                        </a:lnTo>
                        <a:lnTo>
                          <a:pt x="74" y="5"/>
                        </a:lnTo>
                        <a:lnTo>
                          <a:pt x="77" y="5"/>
                        </a:lnTo>
                        <a:lnTo>
                          <a:pt x="78" y="6"/>
                        </a:lnTo>
                        <a:lnTo>
                          <a:pt x="78" y="9"/>
                        </a:lnTo>
                        <a:lnTo>
                          <a:pt x="80" y="11"/>
                        </a:lnTo>
                        <a:lnTo>
                          <a:pt x="80" y="12"/>
                        </a:lnTo>
                        <a:lnTo>
                          <a:pt x="81" y="14"/>
                        </a:lnTo>
                        <a:lnTo>
                          <a:pt x="87" y="14"/>
                        </a:lnTo>
                        <a:lnTo>
                          <a:pt x="92" y="12"/>
                        </a:lnTo>
                        <a:lnTo>
                          <a:pt x="98" y="12"/>
                        </a:lnTo>
                        <a:lnTo>
                          <a:pt x="101" y="9"/>
                        </a:lnTo>
                        <a:lnTo>
                          <a:pt x="110" y="9"/>
                        </a:lnTo>
                        <a:lnTo>
                          <a:pt x="114" y="12"/>
                        </a:lnTo>
                        <a:lnTo>
                          <a:pt x="115" y="14"/>
                        </a:lnTo>
                        <a:lnTo>
                          <a:pt x="115" y="20"/>
                        </a:lnTo>
                        <a:lnTo>
                          <a:pt x="117" y="21"/>
                        </a:lnTo>
                        <a:lnTo>
                          <a:pt x="120" y="22"/>
                        </a:lnTo>
                        <a:lnTo>
                          <a:pt x="120" y="27"/>
                        </a:lnTo>
                        <a:lnTo>
                          <a:pt x="121" y="30"/>
                        </a:lnTo>
                        <a:lnTo>
                          <a:pt x="124" y="33"/>
                        </a:lnTo>
                        <a:lnTo>
                          <a:pt x="127" y="33"/>
                        </a:lnTo>
                        <a:lnTo>
                          <a:pt x="129" y="34"/>
                        </a:lnTo>
                        <a:lnTo>
                          <a:pt x="129" y="49"/>
                        </a:lnTo>
                        <a:lnTo>
                          <a:pt x="117" y="55"/>
                        </a:lnTo>
                        <a:lnTo>
                          <a:pt x="117" y="58"/>
                        </a:lnTo>
                        <a:lnTo>
                          <a:pt x="115" y="61"/>
                        </a:lnTo>
                        <a:lnTo>
                          <a:pt x="115" y="67"/>
                        </a:lnTo>
                        <a:lnTo>
                          <a:pt x="117" y="70"/>
                        </a:lnTo>
                        <a:lnTo>
                          <a:pt x="118" y="71"/>
                        </a:lnTo>
                        <a:lnTo>
                          <a:pt x="118" y="74"/>
                        </a:lnTo>
                        <a:lnTo>
                          <a:pt x="120" y="77"/>
                        </a:lnTo>
                        <a:lnTo>
                          <a:pt x="118" y="80"/>
                        </a:lnTo>
                        <a:lnTo>
                          <a:pt x="117" y="82"/>
                        </a:lnTo>
                        <a:lnTo>
                          <a:pt x="113" y="83"/>
                        </a:lnTo>
                        <a:lnTo>
                          <a:pt x="110" y="83"/>
                        </a:lnTo>
                        <a:lnTo>
                          <a:pt x="108" y="85"/>
                        </a:lnTo>
                        <a:lnTo>
                          <a:pt x="108" y="83"/>
                        </a:lnTo>
                        <a:lnTo>
                          <a:pt x="104" y="79"/>
                        </a:lnTo>
                        <a:lnTo>
                          <a:pt x="102" y="80"/>
                        </a:lnTo>
                        <a:lnTo>
                          <a:pt x="101" y="80"/>
                        </a:lnTo>
                        <a:lnTo>
                          <a:pt x="98" y="82"/>
                        </a:lnTo>
                        <a:lnTo>
                          <a:pt x="96" y="83"/>
                        </a:lnTo>
                        <a:lnTo>
                          <a:pt x="93" y="85"/>
                        </a:lnTo>
                        <a:lnTo>
                          <a:pt x="93" y="95"/>
                        </a:lnTo>
                        <a:lnTo>
                          <a:pt x="92" y="98"/>
                        </a:lnTo>
                        <a:lnTo>
                          <a:pt x="86" y="101"/>
                        </a:lnTo>
                        <a:lnTo>
                          <a:pt x="84" y="102"/>
                        </a:lnTo>
                        <a:lnTo>
                          <a:pt x="81" y="104"/>
                        </a:lnTo>
                        <a:lnTo>
                          <a:pt x="80" y="105"/>
                        </a:lnTo>
                        <a:lnTo>
                          <a:pt x="80" y="111"/>
                        </a:lnTo>
                        <a:lnTo>
                          <a:pt x="62" y="114"/>
                        </a:lnTo>
                        <a:lnTo>
                          <a:pt x="62" y="102"/>
                        </a:lnTo>
                        <a:lnTo>
                          <a:pt x="50" y="102"/>
                        </a:lnTo>
                        <a:lnTo>
                          <a:pt x="47" y="104"/>
                        </a:lnTo>
                        <a:lnTo>
                          <a:pt x="47" y="102"/>
                        </a:lnTo>
                        <a:lnTo>
                          <a:pt x="46" y="101"/>
                        </a:lnTo>
                        <a:lnTo>
                          <a:pt x="46" y="96"/>
                        </a:lnTo>
                        <a:lnTo>
                          <a:pt x="44" y="93"/>
                        </a:lnTo>
                        <a:lnTo>
                          <a:pt x="39" y="88"/>
                        </a:lnTo>
                        <a:lnTo>
                          <a:pt x="37" y="85"/>
                        </a:lnTo>
                        <a:lnTo>
                          <a:pt x="34" y="82"/>
                        </a:lnTo>
                        <a:lnTo>
                          <a:pt x="34" y="79"/>
                        </a:lnTo>
                        <a:lnTo>
                          <a:pt x="31" y="76"/>
                        </a:lnTo>
                        <a:lnTo>
                          <a:pt x="27" y="74"/>
                        </a:lnTo>
                        <a:lnTo>
                          <a:pt x="24" y="73"/>
                        </a:lnTo>
                        <a:lnTo>
                          <a:pt x="19" y="71"/>
                        </a:lnTo>
                        <a:lnTo>
                          <a:pt x="16" y="71"/>
                        </a:lnTo>
                        <a:lnTo>
                          <a:pt x="15" y="62"/>
                        </a:lnTo>
                        <a:lnTo>
                          <a:pt x="12" y="64"/>
                        </a:lnTo>
                        <a:lnTo>
                          <a:pt x="10" y="64"/>
                        </a:lnTo>
                        <a:lnTo>
                          <a:pt x="9" y="65"/>
                        </a:lnTo>
                        <a:lnTo>
                          <a:pt x="7" y="65"/>
                        </a:lnTo>
                        <a:lnTo>
                          <a:pt x="7" y="57"/>
                        </a:lnTo>
                        <a:lnTo>
                          <a:pt x="6" y="57"/>
                        </a:lnTo>
                        <a:lnTo>
                          <a:pt x="5" y="55"/>
                        </a:lnTo>
                        <a:lnTo>
                          <a:pt x="0" y="55"/>
                        </a:lnTo>
                        <a:lnTo>
                          <a:pt x="3" y="46"/>
                        </a:lnTo>
                        <a:lnTo>
                          <a:pt x="19" y="45"/>
                        </a:lnTo>
                        <a:lnTo>
                          <a:pt x="24" y="40"/>
                        </a:lnTo>
                        <a:lnTo>
                          <a:pt x="22" y="39"/>
                        </a:lnTo>
                        <a:lnTo>
                          <a:pt x="22" y="36"/>
                        </a:lnTo>
                        <a:lnTo>
                          <a:pt x="21" y="34"/>
                        </a:lnTo>
                        <a:lnTo>
                          <a:pt x="21" y="27"/>
                        </a:lnTo>
                        <a:lnTo>
                          <a:pt x="19" y="24"/>
                        </a:lnTo>
                        <a:lnTo>
                          <a:pt x="19" y="21"/>
                        </a:lnTo>
                        <a:lnTo>
                          <a:pt x="16" y="14"/>
                        </a:lnTo>
                        <a:lnTo>
                          <a:pt x="28" y="11"/>
                        </a:lnTo>
                        <a:lnTo>
                          <a:pt x="30" y="6"/>
                        </a:lnTo>
                        <a:lnTo>
                          <a:pt x="39" y="6"/>
                        </a:lnTo>
                        <a:lnTo>
                          <a:pt x="47"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sp>
                <p:nvSpPr>
                  <p:cNvPr id="127" name="Freeform 307" descr="© INSCALE GmbH, 21.06.2010"/>
                  <p:cNvSpPr>
                    <a:spLocks noChangeAspect="1"/>
                  </p:cNvSpPr>
                  <p:nvPr/>
                </p:nvSpPr>
                <p:spPr bwMode="auto">
                  <a:xfrm>
                    <a:off x="3204245" y="3808300"/>
                    <a:ext cx="38841" cy="51325"/>
                  </a:xfrm>
                  <a:custGeom>
                    <a:avLst/>
                    <a:gdLst>
                      <a:gd name="T0" fmla="*/ 2147483646 w 40"/>
                      <a:gd name="T1" fmla="*/ 0 h 54"/>
                      <a:gd name="T2" fmla="*/ 2147483646 w 40"/>
                      <a:gd name="T3" fmla="*/ 0 h 54"/>
                      <a:gd name="T4" fmla="*/ 2147483646 w 40"/>
                      <a:gd name="T5" fmla="*/ 2147483646 h 54"/>
                      <a:gd name="T6" fmla="*/ 2147483646 w 40"/>
                      <a:gd name="T7" fmla="*/ 2147483646 h 54"/>
                      <a:gd name="T8" fmla="*/ 2147483646 w 40"/>
                      <a:gd name="T9" fmla="*/ 2147483646 h 54"/>
                      <a:gd name="T10" fmla="*/ 2147483646 w 40"/>
                      <a:gd name="T11" fmla="*/ 2147483646 h 54"/>
                      <a:gd name="T12" fmla="*/ 2147483646 w 40"/>
                      <a:gd name="T13" fmla="*/ 2147483646 h 54"/>
                      <a:gd name="T14" fmla="*/ 2147483646 w 40"/>
                      <a:gd name="T15" fmla="*/ 2147483646 h 54"/>
                      <a:gd name="T16" fmla="*/ 2147483646 w 40"/>
                      <a:gd name="T17" fmla="*/ 2147483646 h 54"/>
                      <a:gd name="T18" fmla="*/ 2147483646 w 40"/>
                      <a:gd name="T19" fmla="*/ 2147483646 h 54"/>
                      <a:gd name="T20" fmla="*/ 2147483646 w 40"/>
                      <a:gd name="T21" fmla="*/ 2147483646 h 54"/>
                      <a:gd name="T22" fmla="*/ 2147483646 w 40"/>
                      <a:gd name="T23" fmla="*/ 2147483646 h 54"/>
                      <a:gd name="T24" fmla="*/ 2147483646 w 40"/>
                      <a:gd name="T25" fmla="*/ 2147483646 h 54"/>
                      <a:gd name="T26" fmla="*/ 2147483646 w 40"/>
                      <a:gd name="T27" fmla="*/ 2147483646 h 54"/>
                      <a:gd name="T28" fmla="*/ 2147483646 w 40"/>
                      <a:gd name="T29" fmla="*/ 2147483646 h 54"/>
                      <a:gd name="T30" fmla="*/ 2147483646 w 40"/>
                      <a:gd name="T31" fmla="*/ 2147483646 h 54"/>
                      <a:gd name="T32" fmla="*/ 2147483646 w 40"/>
                      <a:gd name="T33" fmla="*/ 2147483646 h 54"/>
                      <a:gd name="T34" fmla="*/ 2147483646 w 40"/>
                      <a:gd name="T35" fmla="*/ 2147483646 h 54"/>
                      <a:gd name="T36" fmla="*/ 2147483646 w 40"/>
                      <a:gd name="T37" fmla="*/ 2147483646 h 54"/>
                      <a:gd name="T38" fmla="*/ 2147483646 w 40"/>
                      <a:gd name="T39" fmla="*/ 2147483646 h 54"/>
                      <a:gd name="T40" fmla="*/ 0 w 40"/>
                      <a:gd name="T41" fmla="*/ 2147483646 h 54"/>
                      <a:gd name="T42" fmla="*/ 0 w 40"/>
                      <a:gd name="T43" fmla="*/ 2147483646 h 54"/>
                      <a:gd name="T44" fmla="*/ 2147483646 w 40"/>
                      <a:gd name="T45" fmla="*/ 2147483646 h 54"/>
                      <a:gd name="T46" fmla="*/ 2147483646 w 40"/>
                      <a:gd name="T47" fmla="*/ 2147483646 h 54"/>
                      <a:gd name="T48" fmla="*/ 2147483646 w 40"/>
                      <a:gd name="T49" fmla="*/ 2147483646 h 54"/>
                      <a:gd name="T50" fmla="*/ 2147483646 w 40"/>
                      <a:gd name="T51" fmla="*/ 2147483646 h 54"/>
                      <a:gd name="T52" fmla="*/ 2147483646 w 40"/>
                      <a:gd name="T53" fmla="*/ 2147483646 h 54"/>
                      <a:gd name="T54" fmla="*/ 2147483646 w 40"/>
                      <a:gd name="T55" fmla="*/ 2147483646 h 54"/>
                      <a:gd name="T56" fmla="*/ 2147483646 w 40"/>
                      <a:gd name="T57" fmla="*/ 2147483646 h 54"/>
                      <a:gd name="T58" fmla="*/ 2147483646 w 40"/>
                      <a:gd name="T59" fmla="*/ 2147483646 h 54"/>
                      <a:gd name="T60" fmla="*/ 2147483646 w 40"/>
                      <a:gd name="T61" fmla="*/ 2147483646 h 54"/>
                      <a:gd name="T62" fmla="*/ 2147483646 w 40"/>
                      <a:gd name="T63" fmla="*/ 2147483646 h 54"/>
                      <a:gd name="T64" fmla="*/ 2147483646 w 40"/>
                      <a:gd name="T65" fmla="*/ 2147483646 h 54"/>
                      <a:gd name="T66" fmla="*/ 2147483646 w 40"/>
                      <a:gd name="T67" fmla="*/ 0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
                      <a:gd name="T103" fmla="*/ 0 h 54"/>
                      <a:gd name="T104" fmla="*/ 40 w 40"/>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 h="54">
                        <a:moveTo>
                          <a:pt x="22" y="0"/>
                        </a:moveTo>
                        <a:lnTo>
                          <a:pt x="28" y="0"/>
                        </a:lnTo>
                        <a:lnTo>
                          <a:pt x="28" y="16"/>
                        </a:lnTo>
                        <a:lnTo>
                          <a:pt x="29" y="19"/>
                        </a:lnTo>
                        <a:lnTo>
                          <a:pt x="32" y="20"/>
                        </a:lnTo>
                        <a:lnTo>
                          <a:pt x="34" y="23"/>
                        </a:lnTo>
                        <a:lnTo>
                          <a:pt x="35" y="25"/>
                        </a:lnTo>
                        <a:lnTo>
                          <a:pt x="35" y="38"/>
                        </a:lnTo>
                        <a:lnTo>
                          <a:pt x="37" y="40"/>
                        </a:lnTo>
                        <a:lnTo>
                          <a:pt x="38" y="42"/>
                        </a:lnTo>
                        <a:lnTo>
                          <a:pt x="38" y="45"/>
                        </a:lnTo>
                        <a:lnTo>
                          <a:pt x="40" y="47"/>
                        </a:lnTo>
                        <a:lnTo>
                          <a:pt x="40" y="48"/>
                        </a:lnTo>
                        <a:lnTo>
                          <a:pt x="38" y="48"/>
                        </a:lnTo>
                        <a:lnTo>
                          <a:pt x="35" y="51"/>
                        </a:lnTo>
                        <a:lnTo>
                          <a:pt x="28" y="54"/>
                        </a:lnTo>
                        <a:lnTo>
                          <a:pt x="26" y="51"/>
                        </a:lnTo>
                        <a:lnTo>
                          <a:pt x="14" y="45"/>
                        </a:lnTo>
                        <a:lnTo>
                          <a:pt x="10" y="44"/>
                        </a:lnTo>
                        <a:lnTo>
                          <a:pt x="6" y="41"/>
                        </a:lnTo>
                        <a:lnTo>
                          <a:pt x="0" y="35"/>
                        </a:lnTo>
                        <a:lnTo>
                          <a:pt x="0" y="34"/>
                        </a:lnTo>
                        <a:lnTo>
                          <a:pt x="1" y="31"/>
                        </a:lnTo>
                        <a:lnTo>
                          <a:pt x="1" y="28"/>
                        </a:lnTo>
                        <a:lnTo>
                          <a:pt x="3" y="25"/>
                        </a:lnTo>
                        <a:lnTo>
                          <a:pt x="3" y="22"/>
                        </a:lnTo>
                        <a:lnTo>
                          <a:pt x="6" y="20"/>
                        </a:lnTo>
                        <a:lnTo>
                          <a:pt x="7" y="19"/>
                        </a:lnTo>
                        <a:lnTo>
                          <a:pt x="10" y="19"/>
                        </a:lnTo>
                        <a:lnTo>
                          <a:pt x="13" y="16"/>
                        </a:lnTo>
                        <a:lnTo>
                          <a:pt x="19" y="13"/>
                        </a:lnTo>
                        <a:lnTo>
                          <a:pt x="20" y="10"/>
                        </a:lnTo>
                        <a:lnTo>
                          <a:pt x="22" y="8"/>
                        </a:lnTo>
                        <a:lnTo>
                          <a:pt x="22" y="0"/>
                        </a:lnTo>
                        <a:close/>
                      </a:path>
                    </a:pathLst>
                  </a:custGeom>
                  <a:grpFill/>
                  <a:ln w="9525" cap="flat" cmpd="sng">
                    <a:solidFill>
                      <a:schemeClr val="bg1">
                        <a:lumMod val="50000"/>
                      </a:schemeClr>
                    </a:solidFill>
                    <a:prstDash val="solid"/>
                    <a:round/>
                    <a:headEnd type="none" w="med" len="med"/>
                    <a:tailEnd type="none" w="med" len="med"/>
                  </a:ln>
                </p:spPr>
                <p:txBody>
                  <a:bodyPr/>
                  <a:lstStyle/>
                  <a:p>
                    <a:pPr eaLnBrk="1" fontAlgn="auto" hangingPunct="1">
                      <a:spcBef>
                        <a:spcPts val="0"/>
                      </a:spcBef>
                      <a:spcAft>
                        <a:spcPts val="0"/>
                      </a:spcAft>
                      <a:defRPr/>
                    </a:pPr>
                    <a:endParaRPr lang="de-DE" sz="900" kern="0" dirty="0">
                      <a:solidFill>
                        <a:srgbClr val="000000"/>
                      </a:solidFill>
                      <a:latin typeface="Calibri"/>
                      <a:ea typeface="MS PGothic" charset="0"/>
                      <a:cs typeface="Latha" panose="020B0604020202020204" pitchFamily="34" charset="0"/>
                    </a:endParaRPr>
                  </a:p>
                </p:txBody>
              </p:sp>
            </p:grpSp>
            <p:sp>
              <p:nvSpPr>
                <p:cNvPr id="16" name="Textfeld 11"/>
                <p:cNvSpPr txBox="1">
                  <a:spLocks noChangeArrowheads="1"/>
                </p:cNvSpPr>
                <p:nvPr/>
              </p:nvSpPr>
              <p:spPr bwMode="auto">
                <a:xfrm>
                  <a:off x="3323126" y="1336936"/>
                  <a:ext cx="184904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200" b="1" dirty="0" smtClean="0">
                      <a:solidFill>
                        <a:srgbClr val="161616"/>
                      </a:solidFill>
                      <a:latin typeface="Calibri" panose="020F0502020204030204" pitchFamily="34" charset="0"/>
                    </a:rPr>
                    <a:t>Bezirksregierung</a:t>
                  </a:r>
                  <a:r>
                    <a:rPr lang="de-DE" altLang="de-DE" dirty="0" smtClean="0">
                      <a:solidFill>
                        <a:srgbClr val="003264"/>
                      </a:solidFill>
                    </a:rPr>
                    <a:t> </a:t>
                  </a:r>
                  <a:r>
                    <a:rPr lang="de-DE" altLang="de-DE" sz="1200" b="1" dirty="0" smtClean="0">
                      <a:solidFill>
                        <a:srgbClr val="161616"/>
                      </a:solidFill>
                      <a:latin typeface="Calibri" panose="020F0502020204030204" pitchFamily="34" charset="0"/>
                    </a:rPr>
                    <a:t>Münster</a:t>
                  </a:r>
                </a:p>
              </p:txBody>
            </p:sp>
            <p:grpSp>
              <p:nvGrpSpPr>
                <p:cNvPr id="17" name="Gruppieren 12"/>
                <p:cNvGrpSpPr>
                  <a:grpSpLocks/>
                </p:cNvGrpSpPr>
                <p:nvPr/>
              </p:nvGrpSpPr>
              <p:grpSpPr bwMode="auto">
                <a:xfrm>
                  <a:off x="1470471" y="1683029"/>
                  <a:ext cx="5776613" cy="4545253"/>
                  <a:chOff x="1470471" y="1683029"/>
                  <a:chExt cx="5776613" cy="4545253"/>
                </a:xfrm>
              </p:grpSpPr>
              <p:sp>
                <p:nvSpPr>
                  <p:cNvPr id="18" name="Rechteck 17"/>
                  <p:cNvSpPr/>
                  <p:nvPr/>
                </p:nvSpPr>
                <p:spPr bwMode="auto">
                  <a:xfrm>
                    <a:off x="6658059" y="5089984"/>
                    <a:ext cx="228607" cy="152408"/>
                  </a:xfrm>
                  <a:prstGeom prst="rect">
                    <a:avLst/>
                  </a:prstGeom>
                  <a:solidFill>
                    <a:schemeClr val="accent3">
                      <a:lumMod val="75000"/>
                    </a:schemeClr>
                  </a:solidFill>
                  <a:ln w="12700" cap="flat" cmpd="sng" algn="ctr">
                    <a:noFill/>
                    <a:prstDash val="solid"/>
                    <a:round/>
                    <a:headEnd type="none" w="med" len="med"/>
                    <a:tailEnd type="none" w="med" len="med"/>
                  </a:ln>
                  <a:effectLst/>
                </p:spPr>
                <p:txBody>
                  <a:bodyPr lIns="0" tIns="0" rIns="0" bIns="0" anchor="ctr"/>
                  <a:lstStyle/>
                  <a:p>
                    <a:pPr algn="ctr" eaLnBrk="1" hangingPunct="1">
                      <a:defRPr/>
                    </a:pPr>
                    <a:endParaRPr lang="de-DE" sz="1800" dirty="0">
                      <a:solidFill>
                        <a:srgbClr val="003264"/>
                      </a:solidFill>
                      <a:latin typeface="Arial" charset="0"/>
                      <a:ea typeface="MS PGothic" charset="0"/>
                      <a:cs typeface="MS PGothic" charset="0"/>
                    </a:endParaRPr>
                  </a:p>
                </p:txBody>
              </p:sp>
              <p:sp>
                <p:nvSpPr>
                  <p:cNvPr id="19" name="Rechteck 14"/>
                  <p:cNvSpPr>
                    <a:spLocks noChangeArrowheads="1"/>
                  </p:cNvSpPr>
                  <p:nvPr/>
                </p:nvSpPr>
                <p:spPr bwMode="auto">
                  <a:xfrm>
                    <a:off x="6658066" y="5388601"/>
                    <a:ext cx="228600" cy="152400"/>
                  </a:xfrm>
                  <a:prstGeom prst="rect">
                    <a:avLst/>
                  </a:prstGeom>
                  <a:solidFill>
                    <a:srgbClr val="FFC000"/>
                  </a:solidFill>
                  <a:ln>
                    <a:noFill/>
                  </a:ln>
                  <a:extLst>
                    <a:ext uri="{91240B29-F687-4F45-9708-019B960494DF}">
                      <a14:hiddenLine xmlns:a14="http://schemas.microsoft.com/office/drawing/2010/main" w="12700">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endParaRPr lang="de-DE" altLang="de-DE" sz="1800" dirty="0" smtClean="0">
                      <a:solidFill>
                        <a:srgbClr val="003264"/>
                      </a:solidFill>
                    </a:endParaRPr>
                  </a:p>
                </p:txBody>
              </p:sp>
              <p:sp>
                <p:nvSpPr>
                  <p:cNvPr id="20" name="Rechteck 15"/>
                  <p:cNvSpPr>
                    <a:spLocks noChangeArrowheads="1"/>
                  </p:cNvSpPr>
                  <p:nvPr/>
                </p:nvSpPr>
                <p:spPr bwMode="auto">
                  <a:xfrm>
                    <a:off x="6661655" y="5737986"/>
                    <a:ext cx="228600" cy="152400"/>
                  </a:xfrm>
                  <a:prstGeom prst="rect">
                    <a:avLst/>
                  </a:prstGeom>
                  <a:solidFill>
                    <a:srgbClr val="92D050"/>
                  </a:solidFill>
                  <a:ln>
                    <a:noFill/>
                  </a:ln>
                  <a:extLst>
                    <a:ext uri="{91240B29-F687-4F45-9708-019B960494DF}">
                      <a14:hiddenLine xmlns:a14="http://schemas.microsoft.com/office/drawing/2010/main" w="12700">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endParaRPr lang="de-DE" altLang="de-DE" sz="1800" dirty="0" smtClean="0">
                      <a:solidFill>
                        <a:srgbClr val="003264"/>
                      </a:solidFill>
                    </a:endParaRPr>
                  </a:p>
                </p:txBody>
              </p:sp>
              <p:sp>
                <p:nvSpPr>
                  <p:cNvPr id="21" name="Rechteck 20"/>
                  <p:cNvSpPr/>
                  <p:nvPr/>
                </p:nvSpPr>
                <p:spPr bwMode="auto">
                  <a:xfrm>
                    <a:off x="6658059" y="6064524"/>
                    <a:ext cx="228607" cy="152408"/>
                  </a:xfrm>
                  <a:prstGeom prst="rect">
                    <a:avLst/>
                  </a:prstGeom>
                  <a:solidFill>
                    <a:schemeClr val="accent1">
                      <a:lumMod val="75000"/>
                    </a:schemeClr>
                  </a:solidFill>
                  <a:ln w="12700" cap="flat" cmpd="sng" algn="ctr">
                    <a:noFill/>
                    <a:prstDash val="solid"/>
                    <a:round/>
                    <a:headEnd type="none" w="med" len="med"/>
                    <a:tailEnd type="none" w="med" len="med"/>
                  </a:ln>
                  <a:effectLst/>
                </p:spPr>
                <p:txBody>
                  <a:bodyPr lIns="0" tIns="0" rIns="0" bIns="0" anchor="ctr"/>
                  <a:lstStyle/>
                  <a:p>
                    <a:pPr algn="ctr" eaLnBrk="1" hangingPunct="1">
                      <a:defRPr/>
                    </a:pPr>
                    <a:endParaRPr lang="de-DE" sz="1800" dirty="0">
                      <a:solidFill>
                        <a:srgbClr val="003264"/>
                      </a:solidFill>
                      <a:latin typeface="Arial" charset="0"/>
                      <a:ea typeface="MS PGothic" charset="0"/>
                      <a:cs typeface="MS PGothic" charset="0"/>
                    </a:endParaRPr>
                  </a:p>
                </p:txBody>
              </p:sp>
              <p:sp>
                <p:nvSpPr>
                  <p:cNvPr id="22" name="Textfeld 21"/>
                  <p:cNvSpPr txBox="1"/>
                  <p:nvPr/>
                </p:nvSpPr>
                <p:spPr>
                  <a:xfrm>
                    <a:off x="5132950" y="2613353"/>
                    <a:ext cx="752499" cy="230200"/>
                  </a:xfrm>
                  <a:prstGeom prst="rect">
                    <a:avLst/>
                  </a:prstGeom>
                  <a:noFill/>
                </p:spPr>
                <p:txBody>
                  <a:bodyPr>
                    <a:spAutoFit/>
                  </a:bodyPr>
                  <a:lstStyle/>
                  <a:p>
                    <a:pPr eaLnBrk="1" hangingPunct="1">
                      <a:defRPr/>
                    </a:pPr>
                    <a:r>
                      <a:rPr lang="de-DE" sz="850" dirty="0">
                        <a:solidFill>
                          <a:srgbClr val="DDDDDD">
                            <a:lumMod val="10000"/>
                          </a:srgbClr>
                        </a:solidFill>
                        <a:latin typeface="Latha" panose="020B0604020202020204" pitchFamily="34" charset="0"/>
                        <a:ea typeface="MS PGothic" charset="0"/>
                        <a:cs typeface="Latha" panose="020B0604020202020204" pitchFamily="34" charset="0"/>
                      </a:rPr>
                      <a:t>Bielefeld</a:t>
                    </a:r>
                  </a:p>
                </p:txBody>
              </p:sp>
              <p:sp>
                <p:nvSpPr>
                  <p:cNvPr id="23" name="Textfeld 22"/>
                  <p:cNvSpPr txBox="1"/>
                  <p:nvPr/>
                </p:nvSpPr>
                <p:spPr>
                  <a:xfrm>
                    <a:off x="5369495" y="3283314"/>
                    <a:ext cx="768374" cy="352444"/>
                  </a:xfrm>
                  <a:prstGeom prst="rect">
                    <a:avLst/>
                  </a:prstGeom>
                  <a:noFill/>
                </p:spPr>
                <p:txBody>
                  <a:bodyPr>
                    <a:spAutoFit/>
                  </a:bodyPr>
                  <a:lstStyle/>
                  <a:p>
                    <a:pPr eaLnBrk="1" fontAlgn="auto" hangingPunct="1">
                      <a:spcBef>
                        <a:spcPts val="0"/>
                      </a:spcBef>
                      <a:spcAft>
                        <a:spcPts val="0"/>
                      </a:spcAft>
                      <a:defRPr/>
                    </a:pPr>
                    <a:r>
                      <a:rPr lang="de-DE" sz="850" kern="0" dirty="0">
                        <a:solidFill>
                          <a:srgbClr val="000000"/>
                        </a:solidFill>
                        <a:latin typeface="Calibri"/>
                        <a:ea typeface="MS PGothic" charset="0"/>
                        <a:cs typeface="Latha" panose="020B0604020202020204" pitchFamily="34" charset="0"/>
                      </a:rPr>
                      <a:t>Kreis                                 Paderborn</a:t>
                    </a:r>
                  </a:p>
                </p:txBody>
              </p:sp>
              <p:sp>
                <p:nvSpPr>
                  <p:cNvPr id="24" name="Textfeld 19"/>
                  <p:cNvSpPr txBox="1">
                    <a:spLocks noChangeArrowheads="1"/>
                  </p:cNvSpPr>
                  <p:nvPr/>
                </p:nvSpPr>
                <p:spPr bwMode="auto">
                  <a:xfrm>
                    <a:off x="4866241" y="2767349"/>
                    <a:ext cx="949355" cy="33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FFFFFF"/>
                        </a:solidFill>
                        <a:latin typeface="Calibri" panose="020F0502020204030204" pitchFamily="34" charset="0"/>
                      </a:rPr>
                      <a:t>Kreis</a:t>
                    </a:r>
                  </a:p>
                  <a:p>
                    <a:pPr eaLnBrk="1" hangingPunct="1"/>
                    <a:r>
                      <a:rPr lang="de-DE" altLang="de-DE" sz="800" dirty="0" smtClean="0">
                        <a:solidFill>
                          <a:srgbClr val="FFFFFF"/>
                        </a:solidFill>
                        <a:latin typeface="Calibri" panose="020F0502020204030204" pitchFamily="34" charset="0"/>
                      </a:rPr>
                      <a:t>Gütersloh</a:t>
                    </a:r>
                  </a:p>
                </p:txBody>
              </p:sp>
              <p:sp>
                <p:nvSpPr>
                  <p:cNvPr id="25" name="Textfeld 20"/>
                  <p:cNvSpPr txBox="1">
                    <a:spLocks noChangeArrowheads="1"/>
                  </p:cNvSpPr>
                  <p:nvPr/>
                </p:nvSpPr>
                <p:spPr bwMode="auto">
                  <a:xfrm>
                    <a:off x="5152000" y="1683029"/>
                    <a:ext cx="1123986" cy="35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000000"/>
                        </a:solidFill>
                        <a:latin typeface="Calibri" panose="020F0502020204030204" pitchFamily="34" charset="0"/>
                        <a:cs typeface="Latha" panose="020B0604020202020204" pitchFamily="34" charset="0"/>
                      </a:rPr>
                      <a:t>  Kreis </a:t>
                    </a:r>
                  </a:p>
                  <a:p>
                    <a:pPr eaLnBrk="1" hangingPunct="1"/>
                    <a:r>
                      <a:rPr lang="de-DE" altLang="de-DE" sz="800" dirty="0" smtClean="0">
                        <a:solidFill>
                          <a:srgbClr val="000000"/>
                        </a:solidFill>
                        <a:latin typeface="Calibri" panose="020F0502020204030204" pitchFamily="34" charset="0"/>
                        <a:cs typeface="Latha" panose="020B0604020202020204" pitchFamily="34" charset="0"/>
                      </a:rPr>
                      <a:t>  Minden-Lübbecke</a:t>
                    </a:r>
                  </a:p>
                </p:txBody>
              </p:sp>
              <p:sp>
                <p:nvSpPr>
                  <p:cNvPr id="26" name="Textfeld 25"/>
                  <p:cNvSpPr txBox="1"/>
                  <p:nvPr/>
                </p:nvSpPr>
                <p:spPr>
                  <a:xfrm>
                    <a:off x="2938955" y="2822914"/>
                    <a:ext cx="1101760" cy="354032"/>
                  </a:xfrm>
                  <a:prstGeom prst="rect">
                    <a:avLst/>
                  </a:prstGeom>
                  <a:noFill/>
                </p:spPr>
                <p:txBody>
                  <a:bodyPr>
                    <a:spAutoFit/>
                  </a:bodyPr>
                  <a:lstStyle>
                    <a:defPPr>
                      <a:defRPr lang="de-DE"/>
                    </a:defPPr>
                    <a:lvl1pPr>
                      <a:defRPr sz="850">
                        <a:solidFill>
                          <a:schemeClr val="tx2">
                            <a:lumMod val="10000"/>
                          </a:schemeClr>
                        </a:solidFill>
                        <a:latin typeface="+mj-lt"/>
                      </a:defRPr>
                    </a:lvl1pPr>
                  </a:lstStyle>
                  <a:p>
                    <a:pPr eaLnBrk="1" hangingPunct="1">
                      <a:defRPr/>
                    </a:pPr>
                    <a:r>
                      <a:rPr lang="de-DE" dirty="0">
                        <a:solidFill>
                          <a:srgbClr val="FFFFFF"/>
                        </a:solidFill>
                        <a:ea typeface="MS PGothic" charset="0"/>
                        <a:cs typeface="MS PGothic" charset="0"/>
                      </a:rPr>
                      <a:t>Kreis</a:t>
                    </a:r>
                  </a:p>
                  <a:p>
                    <a:pPr eaLnBrk="1" hangingPunct="1">
                      <a:defRPr/>
                    </a:pPr>
                    <a:r>
                      <a:rPr lang="de-DE" dirty="0">
                        <a:solidFill>
                          <a:srgbClr val="FFFFFF"/>
                        </a:solidFill>
                        <a:ea typeface="MS PGothic" charset="0"/>
                        <a:cs typeface="MS PGothic" charset="0"/>
                      </a:rPr>
                      <a:t>Borken</a:t>
                    </a:r>
                  </a:p>
                </p:txBody>
              </p:sp>
              <p:sp>
                <p:nvSpPr>
                  <p:cNvPr id="27" name="Textfeld 26"/>
                  <p:cNvSpPr txBox="1"/>
                  <p:nvPr/>
                </p:nvSpPr>
                <p:spPr>
                  <a:xfrm>
                    <a:off x="3543812" y="2822914"/>
                    <a:ext cx="909666" cy="352444"/>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a:t>
                    </a:r>
                  </a:p>
                  <a:p>
                    <a:pPr eaLnBrk="1" hangingPunct="1">
                      <a:defRPr/>
                    </a:pPr>
                    <a:r>
                      <a:rPr lang="de-DE" sz="850" dirty="0">
                        <a:solidFill>
                          <a:srgbClr val="DDDDDD">
                            <a:lumMod val="10000"/>
                          </a:srgbClr>
                        </a:solidFill>
                        <a:latin typeface="Calibri"/>
                        <a:ea typeface="MS PGothic" charset="0"/>
                        <a:cs typeface="MS PGothic" charset="0"/>
                      </a:rPr>
                      <a:t>Coesfeld</a:t>
                    </a:r>
                  </a:p>
                </p:txBody>
              </p:sp>
              <p:sp>
                <p:nvSpPr>
                  <p:cNvPr id="28" name="Textfeld 23"/>
                  <p:cNvSpPr txBox="1">
                    <a:spLocks noChangeArrowheads="1"/>
                  </p:cNvSpPr>
                  <p:nvPr/>
                </p:nvSpPr>
                <p:spPr bwMode="auto">
                  <a:xfrm>
                    <a:off x="3877198" y="2713371"/>
                    <a:ext cx="688997" cy="2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Münster</a:t>
                    </a:r>
                  </a:p>
                </p:txBody>
              </p:sp>
              <p:sp>
                <p:nvSpPr>
                  <p:cNvPr id="29" name="Textfeld 28"/>
                  <p:cNvSpPr txBox="1"/>
                  <p:nvPr/>
                </p:nvSpPr>
                <p:spPr>
                  <a:xfrm>
                    <a:off x="4280436" y="2888006"/>
                    <a:ext cx="715985" cy="354031"/>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Warendorf</a:t>
                    </a:r>
                  </a:p>
                </p:txBody>
              </p:sp>
              <p:sp>
                <p:nvSpPr>
                  <p:cNvPr id="30" name="Textfeld 29"/>
                  <p:cNvSpPr txBox="1"/>
                  <p:nvPr/>
                </p:nvSpPr>
                <p:spPr>
                  <a:xfrm>
                    <a:off x="4586832" y="3618294"/>
                    <a:ext cx="796950" cy="231787"/>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Soest</a:t>
                    </a:r>
                  </a:p>
                </p:txBody>
              </p:sp>
              <p:sp>
                <p:nvSpPr>
                  <p:cNvPr id="31" name="Textfeld 30"/>
                  <p:cNvSpPr txBox="1"/>
                  <p:nvPr/>
                </p:nvSpPr>
                <p:spPr>
                  <a:xfrm>
                    <a:off x="4455066" y="4170773"/>
                    <a:ext cx="1220826" cy="230199"/>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Hochsauerlandkreis</a:t>
                    </a:r>
                  </a:p>
                </p:txBody>
              </p:sp>
              <p:sp>
                <p:nvSpPr>
                  <p:cNvPr id="32" name="Textfeld 31"/>
                  <p:cNvSpPr txBox="1"/>
                  <p:nvPr/>
                </p:nvSpPr>
                <p:spPr>
                  <a:xfrm>
                    <a:off x="2095966" y="3091216"/>
                    <a:ext cx="481027" cy="354031"/>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Kleve</a:t>
                    </a:r>
                  </a:p>
                </p:txBody>
              </p:sp>
              <p:sp>
                <p:nvSpPr>
                  <p:cNvPr id="33" name="Textfeld 32"/>
                  <p:cNvSpPr txBox="1"/>
                  <p:nvPr/>
                </p:nvSpPr>
                <p:spPr>
                  <a:xfrm>
                    <a:off x="2635733" y="3327766"/>
                    <a:ext cx="519129" cy="354032"/>
                  </a:xfrm>
                  <a:prstGeom prst="rect">
                    <a:avLst/>
                  </a:prstGeom>
                  <a:noFill/>
                </p:spPr>
                <p:txBody>
                  <a:bodyPr>
                    <a:spAutoFit/>
                  </a:bodyPr>
                  <a:lstStyle/>
                  <a:p>
                    <a:pPr eaLnBrk="1" hangingPunct="1">
                      <a:defRPr/>
                    </a:pPr>
                    <a:r>
                      <a:rPr lang="de-DE" sz="850" dirty="0">
                        <a:solidFill>
                          <a:srgbClr val="FFFFFF"/>
                        </a:solidFill>
                        <a:latin typeface="Calibri"/>
                        <a:ea typeface="MS PGothic" charset="0"/>
                        <a:cs typeface="MS PGothic" charset="0"/>
                      </a:rPr>
                      <a:t>Kreis Wesel</a:t>
                    </a:r>
                  </a:p>
                </p:txBody>
              </p:sp>
              <p:sp>
                <p:nvSpPr>
                  <p:cNvPr id="34" name="Textfeld 33"/>
                  <p:cNvSpPr txBox="1"/>
                  <p:nvPr/>
                </p:nvSpPr>
                <p:spPr>
                  <a:xfrm>
                    <a:off x="4496342" y="5010605"/>
                    <a:ext cx="1622477" cy="354032"/>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Siegen-</a:t>
                    </a:r>
                  </a:p>
                  <a:p>
                    <a:pPr eaLnBrk="1" hangingPunct="1">
                      <a:defRPr/>
                    </a:pPr>
                    <a:r>
                      <a:rPr lang="de-DE" sz="850" dirty="0">
                        <a:solidFill>
                          <a:srgbClr val="DDDDDD">
                            <a:lumMod val="10000"/>
                          </a:srgbClr>
                        </a:solidFill>
                        <a:latin typeface="Calibri"/>
                        <a:ea typeface="MS PGothic" charset="0"/>
                        <a:cs typeface="MS PGothic" charset="0"/>
                      </a:rPr>
                      <a:t>Wittgenstein</a:t>
                    </a:r>
                  </a:p>
                </p:txBody>
              </p:sp>
              <p:sp>
                <p:nvSpPr>
                  <p:cNvPr id="35" name="Textfeld 34"/>
                  <p:cNvSpPr txBox="1"/>
                  <p:nvPr/>
                </p:nvSpPr>
                <p:spPr>
                  <a:xfrm>
                    <a:off x="4304248" y="4761355"/>
                    <a:ext cx="649309" cy="223849"/>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Olpe</a:t>
                    </a:r>
                  </a:p>
                </p:txBody>
              </p:sp>
              <p:sp>
                <p:nvSpPr>
                  <p:cNvPr id="36" name="Textfeld 31"/>
                  <p:cNvSpPr txBox="1">
                    <a:spLocks noChangeArrowheads="1"/>
                  </p:cNvSpPr>
                  <p:nvPr/>
                </p:nvSpPr>
                <p:spPr bwMode="auto">
                  <a:xfrm>
                    <a:off x="3912124" y="4345408"/>
                    <a:ext cx="798537" cy="35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Märkischer</a:t>
                    </a:r>
                  </a:p>
                  <a:p>
                    <a:pPr eaLnBrk="1" hangingPunct="1"/>
                    <a:r>
                      <a:rPr lang="de-DE" altLang="de-DE" sz="800" dirty="0" smtClean="0">
                        <a:solidFill>
                          <a:srgbClr val="161616"/>
                        </a:solidFill>
                        <a:latin typeface="Calibri" panose="020F0502020204030204" pitchFamily="34" charset="0"/>
                      </a:rPr>
                      <a:t>Kreis</a:t>
                    </a:r>
                  </a:p>
                </p:txBody>
              </p:sp>
              <p:sp>
                <p:nvSpPr>
                  <p:cNvPr id="37" name="Textfeld 36"/>
                  <p:cNvSpPr txBox="1"/>
                  <p:nvPr/>
                </p:nvSpPr>
                <p:spPr>
                  <a:xfrm>
                    <a:off x="2134067" y="4077105"/>
                    <a:ext cx="552468" cy="354032"/>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 Viersen</a:t>
                    </a:r>
                  </a:p>
                </p:txBody>
              </p:sp>
              <p:sp>
                <p:nvSpPr>
                  <p:cNvPr id="38" name="Textfeld 37"/>
                  <p:cNvSpPr txBox="1"/>
                  <p:nvPr/>
                </p:nvSpPr>
                <p:spPr>
                  <a:xfrm>
                    <a:off x="3254878" y="3227749"/>
                    <a:ext cx="655658" cy="354031"/>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Reckling-</a:t>
                    </a:r>
                  </a:p>
                  <a:p>
                    <a:pPr eaLnBrk="1" hangingPunct="1">
                      <a:defRPr/>
                    </a:pPr>
                    <a:r>
                      <a:rPr lang="de-DE" sz="850" dirty="0">
                        <a:solidFill>
                          <a:srgbClr val="DDDDDD">
                            <a:lumMod val="10000"/>
                          </a:srgbClr>
                        </a:solidFill>
                        <a:latin typeface="Calibri"/>
                        <a:ea typeface="MS PGothic" charset="0"/>
                        <a:cs typeface="MS PGothic" charset="0"/>
                      </a:rPr>
                      <a:t>hausen</a:t>
                    </a:r>
                  </a:p>
                </p:txBody>
              </p:sp>
              <p:sp>
                <p:nvSpPr>
                  <p:cNvPr id="39" name="Textfeld 38"/>
                  <p:cNvSpPr txBox="1"/>
                  <p:nvPr/>
                </p:nvSpPr>
                <p:spPr>
                  <a:xfrm>
                    <a:off x="4210583" y="3349992"/>
                    <a:ext cx="623907" cy="231787"/>
                  </a:xfrm>
                  <a:prstGeom prst="rect">
                    <a:avLst/>
                  </a:prstGeom>
                  <a:noFill/>
                </p:spPr>
                <p:txBody>
                  <a:bodyPr>
                    <a:spAutoFit/>
                  </a:bodyPr>
                  <a:lstStyle/>
                  <a:p>
                    <a:pPr eaLnBrk="1" hangingPunct="1">
                      <a:defRPr/>
                    </a:pPr>
                    <a:r>
                      <a:rPr lang="de-DE" sz="850" dirty="0">
                        <a:solidFill>
                          <a:srgbClr val="FFFFFF"/>
                        </a:solidFill>
                        <a:latin typeface="Calibri"/>
                        <a:ea typeface="MS PGothic" charset="0"/>
                        <a:cs typeface="MS PGothic" charset="0"/>
                      </a:rPr>
                      <a:t>Hamm</a:t>
                    </a:r>
                  </a:p>
                </p:txBody>
              </p:sp>
              <p:sp>
                <p:nvSpPr>
                  <p:cNvPr id="40" name="Textfeld 39"/>
                  <p:cNvSpPr txBox="1"/>
                  <p:nvPr/>
                </p:nvSpPr>
                <p:spPr>
                  <a:xfrm>
                    <a:off x="4108980" y="3550028"/>
                    <a:ext cx="658833" cy="354032"/>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is</a:t>
                    </a:r>
                  </a:p>
                  <a:p>
                    <a:pPr eaLnBrk="1" hangingPunct="1">
                      <a:defRPr/>
                    </a:pPr>
                    <a:r>
                      <a:rPr lang="de-DE" sz="850" dirty="0">
                        <a:solidFill>
                          <a:srgbClr val="DDDDDD">
                            <a:lumMod val="10000"/>
                          </a:srgbClr>
                        </a:solidFill>
                        <a:latin typeface="Calibri"/>
                        <a:ea typeface="MS PGothic" charset="0"/>
                        <a:cs typeface="MS PGothic" charset="0"/>
                      </a:rPr>
                      <a:t>Unna</a:t>
                    </a:r>
                  </a:p>
                </p:txBody>
              </p:sp>
              <p:sp>
                <p:nvSpPr>
                  <p:cNvPr id="41" name="Textfeld 40"/>
                  <p:cNvSpPr txBox="1"/>
                  <p:nvPr/>
                </p:nvSpPr>
                <p:spPr>
                  <a:xfrm>
                    <a:off x="3685104" y="3732600"/>
                    <a:ext cx="723923" cy="222262"/>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Dortmund</a:t>
                    </a:r>
                  </a:p>
                </p:txBody>
              </p:sp>
              <p:sp>
                <p:nvSpPr>
                  <p:cNvPr id="42" name="Textfeld 41"/>
                  <p:cNvSpPr txBox="1"/>
                  <p:nvPr/>
                </p:nvSpPr>
                <p:spPr>
                  <a:xfrm>
                    <a:off x="3739080" y="4091394"/>
                    <a:ext cx="569931" cy="230199"/>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Hagen</a:t>
                    </a:r>
                  </a:p>
                </p:txBody>
              </p:sp>
              <p:sp>
                <p:nvSpPr>
                  <p:cNvPr id="43" name="Textfeld 42"/>
                  <p:cNvSpPr txBox="1"/>
                  <p:nvPr/>
                </p:nvSpPr>
                <p:spPr>
                  <a:xfrm>
                    <a:off x="2473803" y="4053292"/>
                    <a:ext cx="525479" cy="222262"/>
                  </a:xfrm>
                  <a:prstGeom prst="rect">
                    <a:avLst/>
                  </a:prstGeom>
                  <a:noFill/>
                </p:spPr>
                <p:txBody>
                  <a:bodyPr>
                    <a:spAutoFit/>
                  </a:bodyPr>
                  <a:lstStyle/>
                  <a:p>
                    <a:pPr eaLnBrk="1" hangingPunct="1">
                      <a:defRPr/>
                    </a:pPr>
                    <a:r>
                      <a:rPr lang="de-DE" sz="850" dirty="0">
                        <a:solidFill>
                          <a:srgbClr val="DDDDDD">
                            <a:lumMod val="10000"/>
                          </a:srgbClr>
                        </a:solidFill>
                        <a:latin typeface="Calibri"/>
                        <a:ea typeface="MS PGothic" charset="0"/>
                        <a:cs typeface="MS PGothic" charset="0"/>
                      </a:rPr>
                      <a:t>Krefeld</a:t>
                    </a:r>
                  </a:p>
                </p:txBody>
              </p:sp>
              <p:sp>
                <p:nvSpPr>
                  <p:cNvPr id="44" name="Textfeld 43"/>
                  <p:cNvSpPr txBox="1"/>
                  <p:nvPr/>
                </p:nvSpPr>
                <p:spPr>
                  <a:xfrm>
                    <a:off x="1938798" y="4572432"/>
                    <a:ext cx="669946" cy="354032"/>
                  </a:xfrm>
                  <a:prstGeom prst="rect">
                    <a:avLst/>
                  </a:prstGeom>
                  <a:noFill/>
                </p:spPr>
                <p:txBody>
                  <a:bodyPr>
                    <a:spAutoFit/>
                  </a:bodyPr>
                  <a:lstStyle/>
                  <a:p>
                    <a:pPr eaLnBrk="1" hangingPunct="1">
                      <a:defRPr/>
                    </a:pPr>
                    <a:r>
                      <a:rPr lang="de-DE" sz="850" dirty="0">
                        <a:solidFill>
                          <a:srgbClr val="FFFFFF"/>
                        </a:solidFill>
                        <a:latin typeface="Calibri"/>
                        <a:ea typeface="MS PGothic" charset="0"/>
                        <a:cs typeface="MS PGothic" charset="0"/>
                      </a:rPr>
                      <a:t>Kreis</a:t>
                    </a:r>
                  </a:p>
                  <a:p>
                    <a:pPr eaLnBrk="1" hangingPunct="1">
                      <a:defRPr/>
                    </a:pPr>
                    <a:r>
                      <a:rPr lang="de-DE" sz="850" dirty="0">
                        <a:solidFill>
                          <a:srgbClr val="FFFFFF"/>
                        </a:solidFill>
                        <a:latin typeface="Calibri"/>
                        <a:ea typeface="MS PGothic" charset="0"/>
                        <a:cs typeface="MS PGothic" charset="0"/>
                      </a:rPr>
                      <a:t>Heinsberg</a:t>
                    </a:r>
                  </a:p>
                </p:txBody>
              </p:sp>
              <p:sp>
                <p:nvSpPr>
                  <p:cNvPr id="45" name="Textfeld 40"/>
                  <p:cNvSpPr txBox="1">
                    <a:spLocks noChangeArrowheads="1"/>
                  </p:cNvSpPr>
                  <p:nvPr/>
                </p:nvSpPr>
                <p:spPr bwMode="auto">
                  <a:xfrm>
                    <a:off x="2211857" y="4380334"/>
                    <a:ext cx="703285" cy="346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Mönchen-</a:t>
                    </a:r>
                  </a:p>
                  <a:p>
                    <a:pPr eaLnBrk="1" hangingPunct="1"/>
                    <a:r>
                      <a:rPr lang="de-DE" altLang="de-DE" sz="800" dirty="0" smtClean="0">
                        <a:solidFill>
                          <a:srgbClr val="161616"/>
                        </a:solidFill>
                        <a:latin typeface="Calibri" panose="020F0502020204030204" pitchFamily="34" charset="0"/>
                      </a:rPr>
                      <a:t>gladbach</a:t>
                    </a:r>
                  </a:p>
                </p:txBody>
              </p:sp>
              <p:sp>
                <p:nvSpPr>
                  <p:cNvPr id="46" name="Textfeld 41"/>
                  <p:cNvSpPr txBox="1">
                    <a:spLocks noChangeArrowheads="1"/>
                  </p:cNvSpPr>
                  <p:nvPr/>
                </p:nvSpPr>
                <p:spPr bwMode="auto">
                  <a:xfrm>
                    <a:off x="1835608" y="5432902"/>
                    <a:ext cx="857277" cy="35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Städteregion</a:t>
                    </a:r>
                    <a:endParaRPr lang="de-DE" altLang="de-DE" sz="800" dirty="0" smtClean="0">
                      <a:solidFill>
                        <a:srgbClr val="003264"/>
                      </a:solidFill>
                    </a:endParaRPr>
                  </a:p>
                  <a:p>
                    <a:pPr eaLnBrk="1" hangingPunct="1"/>
                    <a:r>
                      <a:rPr lang="de-DE" altLang="de-DE" sz="800" dirty="0" smtClean="0">
                        <a:solidFill>
                          <a:srgbClr val="161616"/>
                        </a:solidFill>
                        <a:latin typeface="Calibri" panose="020F0502020204030204" pitchFamily="34" charset="0"/>
                      </a:rPr>
                      <a:t>Aachen</a:t>
                    </a:r>
                  </a:p>
                </p:txBody>
              </p:sp>
              <p:sp>
                <p:nvSpPr>
                  <p:cNvPr id="47" name="Textfeld 42"/>
                  <p:cNvSpPr txBox="1">
                    <a:spLocks noChangeArrowheads="1"/>
                  </p:cNvSpPr>
                  <p:nvPr/>
                </p:nvSpPr>
                <p:spPr bwMode="auto">
                  <a:xfrm>
                    <a:off x="2345211" y="5150312"/>
                    <a:ext cx="555643" cy="354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Kreis </a:t>
                    </a:r>
                  </a:p>
                  <a:p>
                    <a:pPr eaLnBrk="1" hangingPunct="1"/>
                    <a:r>
                      <a:rPr lang="de-DE" altLang="de-DE" sz="800" dirty="0" smtClean="0">
                        <a:solidFill>
                          <a:srgbClr val="161616"/>
                        </a:solidFill>
                        <a:latin typeface="Calibri" panose="020F0502020204030204" pitchFamily="34" charset="0"/>
                      </a:rPr>
                      <a:t>Düren</a:t>
                    </a:r>
                  </a:p>
                </p:txBody>
              </p:sp>
              <p:sp>
                <p:nvSpPr>
                  <p:cNvPr id="48" name="Textfeld 47"/>
                  <p:cNvSpPr txBox="1"/>
                  <p:nvPr/>
                </p:nvSpPr>
                <p:spPr>
                  <a:xfrm>
                    <a:off x="2446814" y="5874250"/>
                    <a:ext cx="1230352" cy="354032"/>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a:solidFill>
                          <a:srgbClr val="DDDDDD">
                            <a:lumMod val="10000"/>
                          </a:srgbClr>
                        </a:solidFill>
                        <a:ea typeface="MS PGothic" charset="0"/>
                        <a:cs typeface="MS PGothic" charset="0"/>
                      </a:rPr>
                      <a:t>Kreis </a:t>
                    </a:r>
                    <a:endParaRPr lang="de-DE" sz="850" dirty="0" smtClean="0">
                      <a:solidFill>
                        <a:srgbClr val="DDDDDD">
                          <a:lumMod val="10000"/>
                        </a:srgbClr>
                      </a:solidFill>
                      <a:ea typeface="MS PGothic" charset="0"/>
                      <a:cs typeface="MS PGothic" charset="0"/>
                    </a:endParaRPr>
                  </a:p>
                  <a:p>
                    <a:pPr eaLnBrk="1" hangingPunct="1">
                      <a:defRPr/>
                    </a:pPr>
                    <a:r>
                      <a:rPr lang="de-DE" sz="850" dirty="0" smtClean="0">
                        <a:solidFill>
                          <a:srgbClr val="DDDDDD">
                            <a:lumMod val="10000"/>
                          </a:srgbClr>
                        </a:solidFill>
                        <a:ea typeface="MS PGothic" charset="0"/>
                        <a:cs typeface="MS PGothic" charset="0"/>
                      </a:rPr>
                      <a:t>Euskirchen</a:t>
                    </a:r>
                    <a:endParaRPr lang="de-DE" sz="850" dirty="0">
                      <a:solidFill>
                        <a:srgbClr val="DDDDDD">
                          <a:lumMod val="10000"/>
                        </a:srgbClr>
                      </a:solidFill>
                      <a:ea typeface="MS PGothic" charset="0"/>
                      <a:cs typeface="MS PGothic" charset="0"/>
                    </a:endParaRPr>
                  </a:p>
                </p:txBody>
              </p:sp>
              <p:sp>
                <p:nvSpPr>
                  <p:cNvPr id="49" name="Textfeld 44"/>
                  <p:cNvSpPr txBox="1">
                    <a:spLocks noChangeArrowheads="1"/>
                  </p:cNvSpPr>
                  <p:nvPr/>
                </p:nvSpPr>
                <p:spPr bwMode="auto">
                  <a:xfrm>
                    <a:off x="1470471" y="3671537"/>
                    <a:ext cx="126993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200" b="1" dirty="0" smtClean="0">
                        <a:solidFill>
                          <a:srgbClr val="161616"/>
                        </a:solidFill>
                        <a:latin typeface="Calibri" panose="020F0502020204030204" pitchFamily="34" charset="0"/>
                      </a:rPr>
                      <a:t>Bezirksregierung</a:t>
                    </a:r>
                  </a:p>
                  <a:p>
                    <a:pPr eaLnBrk="1" hangingPunct="1"/>
                    <a:r>
                      <a:rPr lang="de-DE" altLang="de-DE" sz="1200" b="1" dirty="0" smtClean="0">
                        <a:solidFill>
                          <a:srgbClr val="161616"/>
                        </a:solidFill>
                        <a:latin typeface="Calibri" panose="020F0502020204030204" pitchFamily="34" charset="0"/>
                      </a:rPr>
                      <a:t>Düsseldorf</a:t>
                    </a:r>
                  </a:p>
                </p:txBody>
              </p:sp>
              <p:sp>
                <p:nvSpPr>
                  <p:cNvPr id="50" name="Textfeld 45"/>
                  <p:cNvSpPr txBox="1">
                    <a:spLocks noChangeArrowheads="1"/>
                  </p:cNvSpPr>
                  <p:nvPr/>
                </p:nvSpPr>
                <p:spPr bwMode="auto">
                  <a:xfrm>
                    <a:off x="5398040" y="4350018"/>
                    <a:ext cx="184904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200" b="1" dirty="0" smtClean="0">
                        <a:solidFill>
                          <a:srgbClr val="161616"/>
                        </a:solidFill>
                        <a:latin typeface="Calibri" panose="020F0502020204030204" pitchFamily="34" charset="0"/>
                      </a:rPr>
                      <a:t>Bezirksregierung</a:t>
                    </a:r>
                  </a:p>
                  <a:p>
                    <a:pPr eaLnBrk="1" hangingPunct="1"/>
                    <a:r>
                      <a:rPr lang="de-DE" altLang="de-DE" sz="1200" b="1" dirty="0" smtClean="0">
                        <a:solidFill>
                          <a:srgbClr val="161616"/>
                        </a:solidFill>
                        <a:latin typeface="Calibri" panose="020F0502020204030204" pitchFamily="34" charset="0"/>
                      </a:rPr>
                      <a:t>Arnsberg</a:t>
                    </a:r>
                    <a:endParaRPr lang="de-DE" altLang="de-DE" dirty="0" smtClean="0">
                      <a:solidFill>
                        <a:srgbClr val="003264"/>
                      </a:solidFill>
                    </a:endParaRPr>
                  </a:p>
                </p:txBody>
              </p:sp>
              <p:sp>
                <p:nvSpPr>
                  <p:cNvPr id="51" name="Textfeld 46"/>
                  <p:cNvSpPr txBox="1">
                    <a:spLocks noChangeArrowheads="1"/>
                  </p:cNvSpPr>
                  <p:nvPr/>
                </p:nvSpPr>
                <p:spPr bwMode="auto">
                  <a:xfrm>
                    <a:off x="2990730" y="5755405"/>
                    <a:ext cx="184904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200" b="1" dirty="0" smtClean="0">
                        <a:solidFill>
                          <a:srgbClr val="161616"/>
                        </a:solidFill>
                        <a:latin typeface="Calibri" panose="020F0502020204030204" pitchFamily="34" charset="0"/>
                      </a:rPr>
                      <a:t>Bezirksregierung</a:t>
                    </a:r>
                  </a:p>
                  <a:p>
                    <a:pPr eaLnBrk="1" hangingPunct="1"/>
                    <a:r>
                      <a:rPr lang="de-DE" altLang="de-DE" sz="1200" b="1" dirty="0" smtClean="0">
                        <a:solidFill>
                          <a:srgbClr val="161616"/>
                        </a:solidFill>
                        <a:latin typeface="Calibri" panose="020F0502020204030204" pitchFamily="34" charset="0"/>
                      </a:rPr>
                      <a:t>Köln</a:t>
                    </a:r>
                  </a:p>
                </p:txBody>
              </p:sp>
              <p:sp>
                <p:nvSpPr>
                  <p:cNvPr id="52" name="Textfeld 51"/>
                  <p:cNvSpPr txBox="1"/>
                  <p:nvPr/>
                </p:nvSpPr>
                <p:spPr>
                  <a:xfrm>
                    <a:off x="3224714" y="5528157"/>
                    <a:ext cx="438164" cy="222262"/>
                  </a:xfrm>
                  <a:prstGeom prst="rect">
                    <a:avLst/>
                  </a:prstGeom>
                  <a:noFill/>
                </p:spPr>
                <p:txBody>
                  <a:bodyPr>
                    <a:spAutoFit/>
                  </a:bodyPr>
                  <a:lstStyle/>
                  <a:p>
                    <a:pPr eaLnBrk="1" hangingPunct="1">
                      <a:defRPr/>
                    </a:pPr>
                    <a:r>
                      <a:rPr lang="de-DE" sz="850" dirty="0">
                        <a:solidFill>
                          <a:srgbClr val="FFFFFF"/>
                        </a:solidFill>
                        <a:latin typeface="Calibri"/>
                        <a:ea typeface="MS PGothic" charset="0"/>
                        <a:cs typeface="MS PGothic" charset="0"/>
                      </a:rPr>
                      <a:t>Bonn</a:t>
                    </a:r>
                  </a:p>
                </p:txBody>
              </p:sp>
              <p:sp>
                <p:nvSpPr>
                  <p:cNvPr id="53" name="Textfeld 52"/>
                  <p:cNvSpPr txBox="1"/>
                  <p:nvPr/>
                </p:nvSpPr>
                <p:spPr>
                  <a:xfrm>
                    <a:off x="3450146" y="5285257"/>
                    <a:ext cx="850927" cy="354031"/>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Rhein-Sieg-Kreis</a:t>
                    </a:r>
                    <a:endParaRPr lang="de-DE" sz="850" dirty="0">
                      <a:solidFill>
                        <a:srgbClr val="DDDDDD">
                          <a:lumMod val="10000"/>
                        </a:srgbClr>
                      </a:solidFill>
                      <a:ea typeface="MS PGothic" charset="0"/>
                      <a:cs typeface="MS PGothic" charset="0"/>
                    </a:endParaRPr>
                  </a:p>
                </p:txBody>
              </p:sp>
              <p:sp>
                <p:nvSpPr>
                  <p:cNvPr id="54" name="Textfeld 53"/>
                  <p:cNvSpPr txBox="1"/>
                  <p:nvPr/>
                </p:nvSpPr>
                <p:spPr>
                  <a:xfrm>
                    <a:off x="2538892" y="4588307"/>
                    <a:ext cx="793775" cy="354032"/>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a:solidFill>
                          <a:srgbClr val="DDDDDD">
                            <a:lumMod val="10000"/>
                          </a:srgbClr>
                        </a:solidFill>
                        <a:ea typeface="MS PGothic" charset="0"/>
                        <a:cs typeface="MS PGothic" charset="0"/>
                      </a:rPr>
                      <a:t>Rhein-Kreis-Neuss</a:t>
                    </a:r>
                  </a:p>
                </p:txBody>
              </p:sp>
              <p:sp>
                <p:nvSpPr>
                  <p:cNvPr id="55" name="Textfeld 54"/>
                  <p:cNvSpPr txBox="1"/>
                  <p:nvPr/>
                </p:nvSpPr>
                <p:spPr>
                  <a:xfrm>
                    <a:off x="2626208" y="4897887"/>
                    <a:ext cx="638195" cy="484213"/>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Rhein-</a:t>
                    </a:r>
                  </a:p>
                  <a:p>
                    <a:pPr eaLnBrk="1" hangingPunct="1">
                      <a:defRPr/>
                    </a:pPr>
                    <a:r>
                      <a:rPr lang="de-DE" sz="850" dirty="0" smtClean="0">
                        <a:solidFill>
                          <a:srgbClr val="DDDDDD">
                            <a:lumMod val="10000"/>
                          </a:srgbClr>
                        </a:solidFill>
                        <a:ea typeface="MS PGothic" charset="0"/>
                        <a:cs typeface="MS PGothic" charset="0"/>
                      </a:rPr>
                      <a:t>Erft-</a:t>
                    </a:r>
                  </a:p>
                  <a:p>
                    <a:pPr eaLnBrk="1" hangingPunct="1">
                      <a:defRPr/>
                    </a:pPr>
                    <a:r>
                      <a:rPr lang="de-DE" sz="850" dirty="0" smtClean="0">
                        <a:solidFill>
                          <a:srgbClr val="DDDDDD">
                            <a:lumMod val="10000"/>
                          </a:srgbClr>
                        </a:solidFill>
                        <a:ea typeface="MS PGothic" charset="0"/>
                        <a:cs typeface="MS PGothic" charset="0"/>
                      </a:rPr>
                      <a:t>Kreis</a:t>
                    </a:r>
                    <a:endParaRPr lang="de-DE" sz="850" dirty="0">
                      <a:solidFill>
                        <a:srgbClr val="DDDDDD">
                          <a:lumMod val="10000"/>
                        </a:srgbClr>
                      </a:solidFill>
                      <a:ea typeface="MS PGothic" charset="0"/>
                      <a:cs typeface="MS PGothic" charset="0"/>
                    </a:endParaRPr>
                  </a:p>
                </p:txBody>
              </p:sp>
              <p:sp>
                <p:nvSpPr>
                  <p:cNvPr id="56" name="Textfeld 55"/>
                  <p:cNvSpPr txBox="1"/>
                  <p:nvPr/>
                </p:nvSpPr>
                <p:spPr>
                  <a:xfrm>
                    <a:off x="3680341" y="4751829"/>
                    <a:ext cx="933480" cy="354031"/>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a:solidFill>
                          <a:srgbClr val="DDDDDD">
                            <a:lumMod val="10000"/>
                          </a:srgbClr>
                        </a:solidFill>
                        <a:ea typeface="MS PGothic" charset="0"/>
                        <a:cs typeface="MS PGothic" charset="0"/>
                      </a:rPr>
                      <a:t>Oberbergischer Kreis</a:t>
                    </a:r>
                  </a:p>
                </p:txBody>
              </p:sp>
              <p:sp>
                <p:nvSpPr>
                  <p:cNvPr id="57" name="Textfeld 56"/>
                  <p:cNvSpPr txBox="1"/>
                  <p:nvPr/>
                </p:nvSpPr>
                <p:spPr>
                  <a:xfrm>
                    <a:off x="2967531" y="3510339"/>
                    <a:ext cx="576281" cy="223849"/>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a:solidFill>
                          <a:srgbClr val="DDDDDD">
                            <a:lumMod val="10000"/>
                          </a:srgbClr>
                        </a:solidFill>
                        <a:ea typeface="MS PGothic" charset="0"/>
                        <a:cs typeface="MS PGothic" charset="0"/>
                      </a:rPr>
                      <a:t>Bottrop</a:t>
                    </a:r>
                  </a:p>
                </p:txBody>
              </p:sp>
              <p:sp>
                <p:nvSpPr>
                  <p:cNvPr id="58" name="Textfeld 57"/>
                  <p:cNvSpPr txBox="1"/>
                  <p:nvPr/>
                </p:nvSpPr>
                <p:spPr>
                  <a:xfrm>
                    <a:off x="3200901" y="3586543"/>
                    <a:ext cx="871565" cy="223849"/>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Gelsenkirchen</a:t>
                    </a:r>
                    <a:endParaRPr lang="de-DE" sz="850" dirty="0">
                      <a:solidFill>
                        <a:srgbClr val="DDDDDD">
                          <a:lumMod val="10000"/>
                        </a:srgbClr>
                      </a:solidFill>
                      <a:ea typeface="MS PGothic" charset="0"/>
                      <a:cs typeface="MS PGothic" charset="0"/>
                    </a:endParaRPr>
                  </a:p>
                </p:txBody>
              </p:sp>
              <p:sp>
                <p:nvSpPr>
                  <p:cNvPr id="59" name="Textfeld 58"/>
                  <p:cNvSpPr txBox="1"/>
                  <p:nvPr/>
                </p:nvSpPr>
                <p:spPr>
                  <a:xfrm>
                    <a:off x="3405695" y="3643696"/>
                    <a:ext cx="574693" cy="223849"/>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Herne</a:t>
                    </a:r>
                    <a:endParaRPr lang="de-DE" sz="850" dirty="0">
                      <a:solidFill>
                        <a:srgbClr val="DDDDDD">
                          <a:lumMod val="10000"/>
                        </a:srgbClr>
                      </a:solidFill>
                      <a:ea typeface="MS PGothic" charset="0"/>
                      <a:cs typeface="MS PGothic" charset="0"/>
                    </a:endParaRPr>
                  </a:p>
                </p:txBody>
              </p:sp>
              <p:sp>
                <p:nvSpPr>
                  <p:cNvPr id="60" name="Textfeld 55"/>
                  <p:cNvSpPr txBox="1">
                    <a:spLocks noChangeArrowheads="1"/>
                  </p:cNvSpPr>
                  <p:nvPr/>
                </p:nvSpPr>
                <p:spPr bwMode="auto">
                  <a:xfrm>
                    <a:off x="3347036" y="3761731"/>
                    <a:ext cx="5752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Bochum</a:t>
                    </a:r>
                  </a:p>
                </p:txBody>
              </p:sp>
              <p:sp>
                <p:nvSpPr>
                  <p:cNvPr id="61" name="Textfeld 60"/>
                  <p:cNvSpPr txBox="1"/>
                  <p:nvPr/>
                </p:nvSpPr>
                <p:spPr>
                  <a:xfrm>
                    <a:off x="3463530" y="3937182"/>
                    <a:ext cx="576280" cy="484214"/>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Ennepe-Ruhr-Kreis</a:t>
                    </a:r>
                    <a:endParaRPr lang="de-DE" sz="850" dirty="0">
                      <a:solidFill>
                        <a:srgbClr val="DDDDDD">
                          <a:lumMod val="10000"/>
                        </a:srgbClr>
                      </a:solidFill>
                      <a:ea typeface="MS PGothic" charset="0"/>
                      <a:cs typeface="MS PGothic" charset="0"/>
                    </a:endParaRPr>
                  </a:p>
                </p:txBody>
              </p:sp>
              <p:sp>
                <p:nvSpPr>
                  <p:cNvPr id="62" name="Textfeld 61"/>
                  <p:cNvSpPr txBox="1"/>
                  <p:nvPr/>
                </p:nvSpPr>
                <p:spPr>
                  <a:xfrm>
                    <a:off x="2750037" y="3640520"/>
                    <a:ext cx="752499" cy="223849"/>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Oberhausen</a:t>
                    </a:r>
                    <a:endParaRPr lang="de-DE" sz="850" dirty="0">
                      <a:solidFill>
                        <a:srgbClr val="DDDDDD">
                          <a:lumMod val="10000"/>
                        </a:srgbClr>
                      </a:solidFill>
                      <a:ea typeface="MS PGothic" charset="0"/>
                      <a:cs typeface="MS PGothic" charset="0"/>
                    </a:endParaRPr>
                  </a:p>
                </p:txBody>
              </p:sp>
              <p:sp>
                <p:nvSpPr>
                  <p:cNvPr id="63" name="Textfeld 62"/>
                  <p:cNvSpPr txBox="1"/>
                  <p:nvPr/>
                </p:nvSpPr>
                <p:spPr>
                  <a:xfrm>
                    <a:off x="2697647" y="3791340"/>
                    <a:ext cx="612795" cy="223850"/>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Duisburg</a:t>
                    </a:r>
                    <a:endParaRPr lang="de-DE" sz="850" dirty="0">
                      <a:solidFill>
                        <a:srgbClr val="DDDDDD">
                          <a:lumMod val="10000"/>
                        </a:srgbClr>
                      </a:solidFill>
                      <a:ea typeface="MS PGothic" charset="0"/>
                      <a:cs typeface="MS PGothic" charset="0"/>
                    </a:endParaRPr>
                  </a:p>
                </p:txBody>
              </p:sp>
              <p:sp>
                <p:nvSpPr>
                  <p:cNvPr id="64" name="Textfeld 63"/>
                  <p:cNvSpPr txBox="1"/>
                  <p:nvPr/>
                </p:nvSpPr>
                <p:spPr>
                  <a:xfrm>
                    <a:off x="3115173" y="3842143"/>
                    <a:ext cx="574693" cy="230200"/>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Essen</a:t>
                    </a:r>
                    <a:endParaRPr lang="de-DE" sz="850" dirty="0">
                      <a:solidFill>
                        <a:srgbClr val="DDDDDD">
                          <a:lumMod val="10000"/>
                        </a:srgbClr>
                      </a:solidFill>
                      <a:ea typeface="MS PGothic" charset="0"/>
                      <a:cs typeface="MS PGothic" charset="0"/>
                    </a:endParaRPr>
                  </a:p>
                </p:txBody>
              </p:sp>
              <p:sp>
                <p:nvSpPr>
                  <p:cNvPr id="65" name="Textfeld 60"/>
                  <p:cNvSpPr txBox="1">
                    <a:spLocks noChangeArrowheads="1"/>
                  </p:cNvSpPr>
                  <p:nvPr/>
                </p:nvSpPr>
                <p:spPr bwMode="auto">
                  <a:xfrm>
                    <a:off x="2845290" y="3938986"/>
                    <a:ext cx="636607" cy="223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Mülheim</a:t>
                    </a:r>
                  </a:p>
                </p:txBody>
              </p:sp>
              <p:sp>
                <p:nvSpPr>
                  <p:cNvPr id="66" name="Textfeld 61"/>
                  <p:cNvSpPr txBox="1">
                    <a:spLocks noChangeArrowheads="1"/>
                  </p:cNvSpPr>
                  <p:nvPr/>
                </p:nvSpPr>
                <p:spPr bwMode="auto">
                  <a:xfrm>
                    <a:off x="2823064" y="4267616"/>
                    <a:ext cx="563580" cy="338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FFFFFF"/>
                        </a:solidFill>
                        <a:latin typeface="Calibri" panose="020F0502020204030204" pitchFamily="34" charset="0"/>
                      </a:rPr>
                      <a:t>Düssel-</a:t>
                    </a:r>
                  </a:p>
                  <a:p>
                    <a:pPr eaLnBrk="1" hangingPunct="1"/>
                    <a:r>
                      <a:rPr lang="de-DE" altLang="de-DE" sz="800" dirty="0" smtClean="0">
                        <a:solidFill>
                          <a:srgbClr val="FFFFFF"/>
                        </a:solidFill>
                        <a:latin typeface="Calibri" panose="020F0502020204030204" pitchFamily="34" charset="0"/>
                      </a:rPr>
                      <a:t>dorf</a:t>
                    </a:r>
                  </a:p>
                </p:txBody>
              </p:sp>
              <p:sp>
                <p:nvSpPr>
                  <p:cNvPr id="67" name="Textfeld 62"/>
                  <p:cNvSpPr txBox="1">
                    <a:spLocks noChangeArrowheads="1"/>
                  </p:cNvSpPr>
                  <p:nvPr/>
                </p:nvSpPr>
                <p:spPr bwMode="auto">
                  <a:xfrm>
                    <a:off x="3040558" y="4989967"/>
                    <a:ext cx="574693" cy="23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Köln</a:t>
                    </a:r>
                  </a:p>
                </p:txBody>
              </p:sp>
              <p:sp>
                <p:nvSpPr>
                  <p:cNvPr id="68" name="Textfeld 67"/>
                  <p:cNvSpPr txBox="1"/>
                  <p:nvPr/>
                </p:nvSpPr>
                <p:spPr>
                  <a:xfrm>
                    <a:off x="3310442" y="4848671"/>
                    <a:ext cx="757262" cy="485801"/>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Rheinisch-</a:t>
                    </a:r>
                  </a:p>
                  <a:p>
                    <a:pPr eaLnBrk="1" hangingPunct="1">
                      <a:defRPr/>
                    </a:pPr>
                    <a:r>
                      <a:rPr lang="de-DE" sz="850" dirty="0" smtClean="0">
                        <a:solidFill>
                          <a:srgbClr val="DDDDDD">
                            <a:lumMod val="10000"/>
                          </a:srgbClr>
                        </a:solidFill>
                        <a:ea typeface="MS PGothic" charset="0"/>
                        <a:cs typeface="MS PGothic" charset="0"/>
                      </a:rPr>
                      <a:t>Bergischer-</a:t>
                    </a:r>
                  </a:p>
                  <a:p>
                    <a:pPr eaLnBrk="1" hangingPunct="1">
                      <a:defRPr/>
                    </a:pPr>
                    <a:r>
                      <a:rPr lang="de-DE" sz="850" dirty="0" smtClean="0">
                        <a:solidFill>
                          <a:srgbClr val="DDDDDD">
                            <a:lumMod val="10000"/>
                          </a:srgbClr>
                        </a:solidFill>
                        <a:ea typeface="MS PGothic" charset="0"/>
                        <a:cs typeface="MS PGothic" charset="0"/>
                      </a:rPr>
                      <a:t>Kreis</a:t>
                    </a:r>
                    <a:endParaRPr lang="de-DE" sz="850" dirty="0">
                      <a:solidFill>
                        <a:srgbClr val="DDDDDD">
                          <a:lumMod val="10000"/>
                        </a:srgbClr>
                      </a:solidFill>
                      <a:ea typeface="MS PGothic" charset="0"/>
                      <a:cs typeface="MS PGothic" charset="0"/>
                    </a:endParaRPr>
                  </a:p>
                </p:txBody>
              </p:sp>
              <p:sp>
                <p:nvSpPr>
                  <p:cNvPr id="69" name="Textfeld 68"/>
                  <p:cNvSpPr txBox="1"/>
                  <p:nvPr/>
                </p:nvSpPr>
                <p:spPr>
                  <a:xfrm>
                    <a:off x="2970148" y="4050151"/>
                    <a:ext cx="687409" cy="354031"/>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Kreis</a:t>
                    </a:r>
                    <a:endParaRPr lang="de-DE" sz="850" dirty="0">
                      <a:solidFill>
                        <a:srgbClr val="DDDDDD">
                          <a:lumMod val="10000"/>
                        </a:srgbClr>
                      </a:solidFill>
                      <a:ea typeface="MS PGothic" charset="0"/>
                      <a:cs typeface="MS PGothic" charset="0"/>
                    </a:endParaRPr>
                  </a:p>
                  <a:p>
                    <a:pPr eaLnBrk="1" hangingPunct="1">
                      <a:defRPr/>
                    </a:pPr>
                    <a:r>
                      <a:rPr lang="de-DE" sz="850" dirty="0" smtClean="0">
                        <a:solidFill>
                          <a:srgbClr val="DDDDDD">
                            <a:lumMod val="10000"/>
                          </a:srgbClr>
                        </a:solidFill>
                        <a:ea typeface="MS PGothic" charset="0"/>
                        <a:cs typeface="MS PGothic" charset="0"/>
                      </a:rPr>
                      <a:t>Mettmann</a:t>
                    </a:r>
                    <a:endParaRPr lang="de-DE" sz="850" dirty="0">
                      <a:solidFill>
                        <a:srgbClr val="DDDDDD">
                          <a:lumMod val="10000"/>
                        </a:srgbClr>
                      </a:solidFill>
                      <a:ea typeface="MS PGothic" charset="0"/>
                      <a:cs typeface="MS PGothic" charset="0"/>
                    </a:endParaRPr>
                  </a:p>
                </p:txBody>
              </p:sp>
              <p:sp>
                <p:nvSpPr>
                  <p:cNvPr id="70" name="Textfeld 69"/>
                  <p:cNvSpPr txBox="1"/>
                  <p:nvPr/>
                </p:nvSpPr>
                <p:spPr>
                  <a:xfrm>
                    <a:off x="3204720" y="4295742"/>
                    <a:ext cx="685822" cy="222262"/>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Wuppertal</a:t>
                    </a:r>
                    <a:endParaRPr lang="de-DE" sz="850" dirty="0">
                      <a:solidFill>
                        <a:srgbClr val="DDDDDD">
                          <a:lumMod val="10000"/>
                        </a:srgbClr>
                      </a:solidFill>
                      <a:ea typeface="MS PGothic" charset="0"/>
                      <a:cs typeface="MS PGothic" charset="0"/>
                    </a:endParaRPr>
                  </a:p>
                </p:txBody>
              </p:sp>
              <p:sp>
                <p:nvSpPr>
                  <p:cNvPr id="71" name="Textfeld 66"/>
                  <p:cNvSpPr txBox="1">
                    <a:spLocks noChangeArrowheads="1"/>
                  </p:cNvSpPr>
                  <p:nvPr/>
                </p:nvSpPr>
                <p:spPr bwMode="auto">
                  <a:xfrm>
                    <a:off x="3309205" y="4450100"/>
                    <a:ext cx="72332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800" dirty="0" smtClean="0">
                        <a:solidFill>
                          <a:srgbClr val="161616"/>
                        </a:solidFill>
                        <a:latin typeface="Calibri" panose="020F0502020204030204" pitchFamily="34" charset="0"/>
                      </a:rPr>
                      <a:t>Remscheid</a:t>
                    </a:r>
                  </a:p>
                </p:txBody>
              </p:sp>
              <p:sp>
                <p:nvSpPr>
                  <p:cNvPr id="72" name="Textfeld 71"/>
                  <p:cNvSpPr txBox="1"/>
                  <p:nvPr/>
                </p:nvSpPr>
                <p:spPr>
                  <a:xfrm>
                    <a:off x="2965496" y="4737103"/>
                    <a:ext cx="741387" cy="222262"/>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Leverkusen</a:t>
                    </a:r>
                    <a:endParaRPr lang="de-DE" sz="850" dirty="0">
                      <a:solidFill>
                        <a:srgbClr val="DDDDDD">
                          <a:lumMod val="10000"/>
                        </a:srgbClr>
                      </a:solidFill>
                      <a:ea typeface="MS PGothic" charset="0"/>
                      <a:cs typeface="MS PGothic" charset="0"/>
                    </a:endParaRPr>
                  </a:p>
                </p:txBody>
              </p:sp>
              <p:sp>
                <p:nvSpPr>
                  <p:cNvPr id="73" name="Textfeld 72"/>
                  <p:cNvSpPr txBox="1"/>
                  <p:nvPr/>
                </p:nvSpPr>
                <p:spPr>
                  <a:xfrm>
                    <a:off x="3099824" y="4514325"/>
                    <a:ext cx="685822" cy="222262"/>
                  </a:xfrm>
                  <a:prstGeom prst="rect">
                    <a:avLst/>
                  </a:prstGeom>
                  <a:noFill/>
                </p:spPr>
                <p:txBody>
                  <a:bodyPr>
                    <a:spAutoFit/>
                  </a:bodyPr>
                  <a:lstStyle>
                    <a:defPPr>
                      <a:defRPr lang="de-DE"/>
                    </a:defPPr>
                    <a:lvl1pPr>
                      <a:defRPr sz="900">
                        <a:solidFill>
                          <a:schemeClr val="tx2">
                            <a:lumMod val="10000"/>
                          </a:schemeClr>
                        </a:solidFill>
                        <a:latin typeface="+mn-lt"/>
                      </a:defRPr>
                    </a:lvl1pPr>
                  </a:lstStyle>
                  <a:p>
                    <a:pPr eaLnBrk="1" hangingPunct="1">
                      <a:defRPr/>
                    </a:pPr>
                    <a:r>
                      <a:rPr lang="de-DE" sz="850" dirty="0" smtClean="0">
                        <a:solidFill>
                          <a:srgbClr val="DDDDDD">
                            <a:lumMod val="10000"/>
                          </a:srgbClr>
                        </a:solidFill>
                        <a:ea typeface="MS PGothic" charset="0"/>
                        <a:cs typeface="MS PGothic" charset="0"/>
                      </a:rPr>
                      <a:t>Solingen</a:t>
                    </a:r>
                    <a:endParaRPr lang="de-DE" sz="850" dirty="0">
                      <a:solidFill>
                        <a:srgbClr val="DDDDDD">
                          <a:lumMod val="10000"/>
                        </a:srgbClr>
                      </a:solidFill>
                      <a:ea typeface="MS PGothic" charset="0"/>
                      <a:cs typeface="MS PGothic" charset="0"/>
                    </a:endParaRPr>
                  </a:p>
                </p:txBody>
              </p:sp>
            </p:grpSp>
          </p:grpSp>
          <p:sp>
            <p:nvSpPr>
              <p:cNvPr id="13" name="Inhaltsplatzhalter 2"/>
              <p:cNvSpPr txBox="1">
                <a:spLocks/>
              </p:cNvSpPr>
              <p:nvPr/>
            </p:nvSpPr>
            <p:spPr bwMode="gray">
              <a:xfrm>
                <a:off x="7001497" y="5043649"/>
                <a:ext cx="1752656" cy="1066856"/>
              </a:xfrm>
              <a:prstGeom prst="rect">
                <a:avLst/>
              </a:prstGeom>
              <a:noFill/>
              <a:ln w="9525">
                <a:noFill/>
                <a:miter lim="800000"/>
                <a:headEnd/>
                <a:tailEnd/>
              </a:ln>
            </p:spPr>
            <p:txBody>
              <a:bodyPr lIns="0" tIns="0" rIns="0" bIns="0"/>
              <a:lstStyle/>
              <a:p>
                <a:pPr marL="180975" indent="-180975" eaLnBrk="1" hangingPunct="1">
                  <a:spcBef>
                    <a:spcPts val="0"/>
                  </a:spcBef>
                  <a:spcAft>
                    <a:spcPts val="900"/>
                  </a:spcAft>
                  <a:buClr>
                    <a:srgbClr val="003264"/>
                  </a:buClr>
                  <a:tabLst>
                    <a:tab pos="180975" algn="l"/>
                  </a:tabLst>
                  <a:defRPr/>
                </a:pPr>
                <a:r>
                  <a:rPr lang="de-DE" sz="1400" kern="0" dirty="0">
                    <a:solidFill>
                      <a:srgbClr val="003264"/>
                    </a:solidFill>
                    <a:latin typeface="Calibri"/>
                    <a:ea typeface="MS PGothic" charset="0"/>
                    <a:cs typeface="Calibri"/>
                  </a:rPr>
                  <a:t>Pilotregionen 1</a:t>
                </a:r>
              </a:p>
              <a:p>
                <a:pPr marL="180975" indent="-180975" eaLnBrk="1" hangingPunct="1">
                  <a:spcBef>
                    <a:spcPts val="0"/>
                  </a:spcBef>
                  <a:spcAft>
                    <a:spcPts val="900"/>
                  </a:spcAft>
                  <a:buClr>
                    <a:srgbClr val="003264"/>
                  </a:buClr>
                  <a:tabLst>
                    <a:tab pos="180975" algn="l"/>
                  </a:tabLst>
                  <a:defRPr/>
                </a:pPr>
                <a:r>
                  <a:rPr lang="de-DE" sz="1400" kern="0" dirty="0">
                    <a:solidFill>
                      <a:srgbClr val="003264"/>
                    </a:solidFill>
                    <a:latin typeface="Calibri"/>
                    <a:ea typeface="MS PGothic" charset="0"/>
                    <a:cs typeface="Calibri"/>
                  </a:rPr>
                  <a:t>Pilotregionen 2</a:t>
                </a:r>
              </a:p>
              <a:p>
                <a:pPr marL="180975" indent="-180975" eaLnBrk="1" hangingPunct="1">
                  <a:spcBef>
                    <a:spcPts val="0"/>
                  </a:spcBef>
                  <a:spcAft>
                    <a:spcPts val="900"/>
                  </a:spcAft>
                  <a:buClr>
                    <a:srgbClr val="003264"/>
                  </a:buClr>
                  <a:tabLst>
                    <a:tab pos="180975" algn="l"/>
                  </a:tabLst>
                  <a:defRPr/>
                </a:pPr>
                <a:r>
                  <a:rPr lang="de-DE" sz="1400" kern="0" dirty="0" smtClean="0">
                    <a:solidFill>
                      <a:srgbClr val="003264"/>
                    </a:solidFill>
                    <a:latin typeface="Calibri"/>
                    <a:ea typeface="MS PGothic" charset="0"/>
                    <a:cs typeface="Calibri"/>
                  </a:rPr>
                  <a:t>Projektregionen </a:t>
                </a:r>
                <a:r>
                  <a:rPr lang="de-DE" sz="1400" kern="0" dirty="0">
                    <a:solidFill>
                      <a:srgbClr val="003264"/>
                    </a:solidFill>
                    <a:latin typeface="Calibri"/>
                    <a:ea typeface="MS PGothic" charset="0"/>
                    <a:cs typeface="Calibri"/>
                  </a:rPr>
                  <a:t>3</a:t>
                </a:r>
              </a:p>
              <a:p>
                <a:pPr marL="180975" indent="-180975" eaLnBrk="1" hangingPunct="1">
                  <a:spcBef>
                    <a:spcPts val="0"/>
                  </a:spcBef>
                  <a:spcAft>
                    <a:spcPts val="900"/>
                  </a:spcAft>
                  <a:buClr>
                    <a:srgbClr val="003264"/>
                  </a:buClr>
                  <a:tabLst>
                    <a:tab pos="180975" algn="l"/>
                  </a:tabLst>
                  <a:defRPr/>
                </a:pPr>
                <a:r>
                  <a:rPr lang="de-DE" sz="1400" kern="0" dirty="0">
                    <a:solidFill>
                      <a:srgbClr val="003264"/>
                    </a:solidFill>
                    <a:latin typeface="Calibri"/>
                    <a:ea typeface="MS PGothic" charset="0"/>
                    <a:cs typeface="Calibri"/>
                  </a:rPr>
                  <a:t>Projektregionen </a:t>
                </a:r>
                <a:r>
                  <a:rPr lang="de-DE" sz="1400" kern="0" dirty="0" smtClean="0">
                    <a:solidFill>
                      <a:srgbClr val="003264"/>
                    </a:solidFill>
                    <a:latin typeface="Calibri"/>
                    <a:ea typeface="MS PGothic" charset="0"/>
                    <a:cs typeface="Calibri"/>
                  </a:rPr>
                  <a:t>4</a:t>
                </a:r>
              </a:p>
              <a:p>
                <a:pPr marL="180975" indent="-180975" eaLnBrk="1" hangingPunct="1">
                  <a:spcBef>
                    <a:spcPts val="0"/>
                  </a:spcBef>
                  <a:spcAft>
                    <a:spcPts val="900"/>
                  </a:spcAft>
                  <a:buClr>
                    <a:srgbClr val="003264"/>
                  </a:buClr>
                  <a:tabLst>
                    <a:tab pos="180975" algn="l"/>
                  </a:tabLst>
                  <a:defRPr/>
                </a:pPr>
                <a:r>
                  <a:rPr lang="de-DE" sz="1400" kern="0" dirty="0" smtClean="0">
                    <a:solidFill>
                      <a:srgbClr val="003264"/>
                    </a:solidFill>
                    <a:latin typeface="Calibri"/>
                    <a:ea typeface="MS PGothic" charset="0"/>
                    <a:cs typeface="Calibri"/>
                  </a:rPr>
                  <a:t>Projektregionen 5 </a:t>
                </a:r>
                <a:endParaRPr lang="de-DE" sz="1400" kern="0" dirty="0">
                  <a:solidFill>
                    <a:srgbClr val="003264"/>
                  </a:solidFill>
                  <a:latin typeface="Calibri"/>
                  <a:ea typeface="MS PGothic" charset="0"/>
                  <a:cs typeface="Calibri"/>
                </a:endParaRPr>
              </a:p>
            </p:txBody>
          </p:sp>
        </p:grpSp>
        <p:sp>
          <p:nvSpPr>
            <p:cNvPr id="11" name="Textfeld 6"/>
            <p:cNvSpPr txBox="1">
              <a:spLocks noChangeArrowheads="1"/>
            </p:cNvSpPr>
            <p:nvPr/>
          </p:nvSpPr>
          <p:spPr bwMode="auto">
            <a:xfrm>
              <a:off x="6063698" y="2004298"/>
              <a:ext cx="28095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200" b="1" dirty="0" smtClean="0">
                  <a:solidFill>
                    <a:srgbClr val="161616"/>
                  </a:solidFill>
                  <a:latin typeface="Calibri" panose="020F0502020204030204" pitchFamily="34" charset="0"/>
                </a:rPr>
                <a:t>Bezirksregierung </a:t>
              </a:r>
            </a:p>
            <a:p>
              <a:pPr eaLnBrk="1" hangingPunct="1"/>
              <a:r>
                <a:rPr lang="de-DE" altLang="de-DE" sz="1200" b="1" dirty="0" smtClean="0">
                  <a:solidFill>
                    <a:srgbClr val="161616"/>
                  </a:solidFill>
                  <a:latin typeface="Calibri" panose="020F0502020204030204" pitchFamily="34" charset="0"/>
                </a:rPr>
                <a:t>Detmold</a:t>
              </a:r>
            </a:p>
          </p:txBody>
        </p:sp>
      </p:grpSp>
      <p:sp>
        <p:nvSpPr>
          <p:cNvPr id="128" name="Rechteck 127"/>
          <p:cNvSpPr/>
          <p:nvPr/>
        </p:nvSpPr>
        <p:spPr bwMode="auto">
          <a:xfrm>
            <a:off x="6700311" y="6402269"/>
            <a:ext cx="228600" cy="152400"/>
          </a:xfrm>
          <a:prstGeom prst="rect">
            <a:avLst/>
          </a:prstGeom>
          <a:solidFill>
            <a:schemeClr val="accent2">
              <a:lumMod val="60000"/>
              <a:lumOff val="40000"/>
            </a:schemeClr>
          </a:solidFill>
          <a:ln w="12700" cap="flat" cmpd="sng" algn="ctr">
            <a:noFill/>
            <a:prstDash val="solid"/>
            <a:round/>
            <a:headEnd type="none" w="med" len="med"/>
            <a:tailEnd type="none" w="med" len="med"/>
          </a:ln>
          <a:effectLst/>
        </p:spPr>
        <p:txBody>
          <a:bodyPr lIns="0" tIns="0" rIns="0" bIns="0" anchor="ctr"/>
          <a:lstStyle/>
          <a:p>
            <a:pPr algn="ctr" eaLnBrk="1" hangingPunct="1">
              <a:defRPr/>
            </a:pPr>
            <a:endParaRPr lang="de-DE" sz="1800" dirty="0">
              <a:solidFill>
                <a:srgbClr val="003264"/>
              </a:solidFill>
              <a:latin typeface="Arial" charset="0"/>
              <a:ea typeface="MS PGothic" charset="0"/>
              <a:cs typeface="MS PGothic" charset="0"/>
            </a:endParaRPr>
          </a:p>
        </p:txBody>
      </p:sp>
    </p:spTree>
    <p:extLst>
      <p:ext uri="{BB962C8B-B14F-4D97-AF65-F5344CB8AC3E}">
        <p14:creationId xmlns:p14="http://schemas.microsoft.com/office/powerpoint/2010/main" val="38791603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i="1" dirty="0" smtClean="0"/>
              <a:t>Vielfalt fördern </a:t>
            </a:r>
            <a:r>
              <a:rPr lang="de-DE" dirty="0" smtClean="0"/>
              <a:t>ist ein Unterrichtsentwicklungsprojekt</a:t>
            </a:r>
            <a:endParaRPr lang="de-DE" dirty="0"/>
          </a:p>
        </p:txBody>
      </p:sp>
      <p:sp>
        <p:nvSpPr>
          <p:cNvPr id="3" name="Inhaltsplatzhalter 2"/>
          <p:cNvSpPr>
            <a:spLocks noGrp="1"/>
          </p:cNvSpPr>
          <p:nvPr>
            <p:ph idx="1"/>
          </p:nvPr>
        </p:nvSpPr>
        <p:spPr/>
        <p:txBody>
          <a:bodyPr/>
          <a:lstStyle/>
          <a:p>
            <a:r>
              <a:rPr lang="de-DE" dirty="0" smtClean="0"/>
              <a:t>Das bedeutet,</a:t>
            </a:r>
          </a:p>
          <a:p>
            <a:pPr marL="285750" indent="-285750">
              <a:buFont typeface="Arial" panose="020B0604020202020204" pitchFamily="34" charset="0"/>
              <a:buChar char="•"/>
            </a:pPr>
            <a:r>
              <a:rPr lang="de-DE" dirty="0" smtClean="0"/>
              <a:t>dass Kolleginnen und Kollegen einer Schule ihren Unterricht </a:t>
            </a:r>
            <a:r>
              <a:rPr lang="de-DE" dirty="0"/>
              <a:t>in Teams </a:t>
            </a:r>
            <a:r>
              <a:rPr lang="de-DE" dirty="0" smtClean="0"/>
              <a:t>über einen längeren Zeitraum gemeinsam weiterentwickeln und sich selbst als Lernende </a:t>
            </a:r>
            <a:r>
              <a:rPr lang="de-DE" dirty="0"/>
              <a:t>und als Entwickler ihrer Schule verstehen.</a:t>
            </a:r>
          </a:p>
          <a:p>
            <a:pPr marL="285750" indent="-285750">
              <a:buFont typeface="Arial" panose="020B0604020202020204" pitchFamily="34" charset="0"/>
              <a:buChar char="•"/>
            </a:pPr>
            <a:r>
              <a:rPr lang="de-DE" dirty="0" smtClean="0"/>
              <a:t>dass über vier Module inhaltliche Schwerpunkte gesetzt werden, die KuK einer Schule diese Schwerpunkte jedoch durch eigene Entwicklungsvorhaben für ihre Schule adaptieren.</a:t>
            </a:r>
          </a:p>
          <a:p>
            <a:pPr marL="285750" indent="-285750">
              <a:buFont typeface="Arial" panose="020B0604020202020204" pitchFamily="34" charset="0"/>
              <a:buChar char="•"/>
            </a:pPr>
            <a:r>
              <a:rPr lang="de-DE" dirty="0" smtClean="0"/>
              <a:t>dass die Schule eine Projektsteuergruppe braucht. Diese nimmt in dem Prozess eine ganz wesentliche Rolle, u. a. als Bindeglied zwischen Moderatorinnen und Moderatoren und Kolleginnen und Kollegen ein. </a:t>
            </a:r>
          </a:p>
          <a:p>
            <a:pPr marL="285750" indent="-285750">
              <a:buFont typeface="Arial" panose="020B0604020202020204" pitchFamily="34" charset="0"/>
              <a:buChar char="•"/>
            </a:pPr>
            <a:r>
              <a:rPr lang="de-DE" dirty="0" smtClean="0"/>
              <a:t>dass Kolleginnen und Kollegen sich auf einen Prozess einlassen, in dem es Höhen und Tiefen geben wird. Hier ist es von entscheidender Bedeutung, dass die Schulleitung hinter dem Projekt steht und den Austausch mit dem Kollegium sucht.</a:t>
            </a:r>
            <a:endParaRPr lang="de-DE" dirty="0"/>
          </a:p>
        </p:txBody>
      </p:sp>
    </p:spTree>
    <p:extLst>
      <p:ext uri="{BB962C8B-B14F-4D97-AF65-F5344CB8AC3E}">
        <p14:creationId xmlns:p14="http://schemas.microsoft.com/office/powerpoint/2010/main" val="3838200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304800" y="1143000"/>
            <a:ext cx="8686800" cy="685800"/>
          </a:xfrm>
        </p:spPr>
        <p:txBody>
          <a:bodyPr/>
          <a:lstStyle/>
          <a:p>
            <a:r>
              <a:rPr lang="de-DE" altLang="de-DE" dirty="0" smtClean="0">
                <a:latin typeface="Calibri" panose="020F0502020204030204" pitchFamily="34" charset="0"/>
                <a:cs typeface="Calibri" panose="020F0502020204030204" pitchFamily="34" charset="0"/>
              </a:rPr>
              <a:t>Die vier </a:t>
            </a:r>
            <a:r>
              <a:rPr lang="de-DE" altLang="de-DE" dirty="0" smtClean="0">
                <a:solidFill>
                  <a:srgbClr val="002060"/>
                </a:solidFill>
                <a:latin typeface="Calibri" panose="020F0502020204030204" pitchFamily="34" charset="0"/>
                <a:cs typeface="Calibri" panose="020F0502020204030204" pitchFamily="34" charset="0"/>
              </a:rPr>
              <a:t>inhaltlichen</a:t>
            </a:r>
            <a:r>
              <a:rPr lang="de-DE" altLang="de-DE" dirty="0" smtClean="0">
                <a:solidFill>
                  <a:srgbClr val="FF0000"/>
                </a:solidFill>
                <a:latin typeface="Calibri" panose="020F0502020204030204" pitchFamily="34" charset="0"/>
                <a:cs typeface="Calibri" panose="020F0502020204030204" pitchFamily="34" charset="0"/>
              </a:rPr>
              <a:t> </a:t>
            </a:r>
            <a:r>
              <a:rPr lang="de-DE" altLang="de-DE" dirty="0" smtClean="0">
                <a:latin typeface="Calibri" panose="020F0502020204030204" pitchFamily="34" charset="0"/>
                <a:cs typeface="Calibri" panose="020F0502020204030204" pitchFamily="34" charset="0"/>
              </a:rPr>
              <a:t>Module der Qualifizierung zielen auf eine systematische Weiterentwicklung von individuell förderndem Unterricht</a:t>
            </a:r>
          </a:p>
        </p:txBody>
      </p:sp>
      <p:sp>
        <p:nvSpPr>
          <p:cNvPr id="25603" name="Abgerundetes Rechteck 3"/>
          <p:cNvSpPr>
            <a:spLocks noChangeArrowheads="1"/>
          </p:cNvSpPr>
          <p:nvPr/>
        </p:nvSpPr>
        <p:spPr bwMode="auto">
          <a:xfrm>
            <a:off x="304800" y="2438400"/>
            <a:ext cx="8305800" cy="685800"/>
          </a:xfrm>
          <a:prstGeom prst="roundRect">
            <a:avLst>
              <a:gd name="adj" fmla="val 16667"/>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endParaRPr lang="de-DE" altLang="de-DE" sz="1800" dirty="0"/>
          </a:p>
        </p:txBody>
      </p:sp>
      <p:sp>
        <p:nvSpPr>
          <p:cNvPr id="25604" name="Rechteck 4"/>
          <p:cNvSpPr>
            <a:spLocks noChangeArrowheads="1"/>
          </p:cNvSpPr>
          <p:nvPr/>
        </p:nvSpPr>
        <p:spPr bwMode="auto">
          <a:xfrm>
            <a:off x="304800" y="2438400"/>
            <a:ext cx="5181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chemeClr val="bg1"/>
                </a:solidFill>
                <a:latin typeface="Calibri" panose="020F0502020204030204" pitchFamily="34" charset="0"/>
              </a:rPr>
              <a:t>Modul 1</a:t>
            </a:r>
            <a:r>
              <a:rPr lang="de-DE" altLang="de-DE" sz="1700" dirty="0">
                <a:solidFill>
                  <a:schemeClr val="bg1"/>
                </a:solidFill>
                <a:latin typeface="Calibri" panose="020F0502020204030204" pitchFamily="34" charset="0"/>
              </a:rPr>
              <a:t/>
            </a:r>
            <a:br>
              <a:rPr lang="de-DE" altLang="de-DE" sz="1700" dirty="0">
                <a:solidFill>
                  <a:schemeClr val="bg1"/>
                </a:solidFill>
                <a:latin typeface="Calibri" panose="020F0502020204030204" pitchFamily="34" charset="0"/>
              </a:rPr>
            </a:br>
            <a:r>
              <a:rPr lang="de-DE" altLang="de-DE" sz="1700" dirty="0">
                <a:solidFill>
                  <a:schemeClr val="bg1"/>
                </a:solidFill>
                <a:latin typeface="Calibri" panose="020F0502020204030204" pitchFamily="34" charset="0"/>
              </a:rPr>
              <a:t>Teamentwicklung im Kollegium</a:t>
            </a:r>
          </a:p>
        </p:txBody>
      </p:sp>
      <p:sp>
        <p:nvSpPr>
          <p:cNvPr id="6" name="Abgerundetes Rechteck 5"/>
          <p:cNvSpPr/>
          <p:nvPr/>
        </p:nvSpPr>
        <p:spPr bwMode="auto">
          <a:xfrm>
            <a:off x="304800" y="3200400"/>
            <a:ext cx="8305800" cy="685800"/>
          </a:xfrm>
          <a:prstGeom prst="roundRect">
            <a:avLst/>
          </a:prstGeom>
          <a:solidFill>
            <a:schemeClr val="accent4"/>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25606" name="Rechteck 6"/>
          <p:cNvSpPr>
            <a:spLocks noChangeArrowheads="1"/>
          </p:cNvSpPr>
          <p:nvPr/>
        </p:nvSpPr>
        <p:spPr bwMode="auto">
          <a:xfrm>
            <a:off x="304800" y="3200400"/>
            <a:ext cx="7239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2 </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Identifizierung von Potenzialen und Interessen/Evaluation (Diagnostik)</a:t>
            </a:r>
          </a:p>
        </p:txBody>
      </p:sp>
      <p:sp>
        <p:nvSpPr>
          <p:cNvPr id="8" name="Abgerundetes Rechteck 7"/>
          <p:cNvSpPr/>
          <p:nvPr/>
        </p:nvSpPr>
        <p:spPr bwMode="auto">
          <a:xfrm>
            <a:off x="304800" y="3962400"/>
            <a:ext cx="8305800" cy="685800"/>
          </a:xfrm>
          <a:prstGeom prst="roundRect">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25608" name="Rechteck 8"/>
          <p:cNvSpPr>
            <a:spLocks noChangeArrowheads="1"/>
          </p:cNvSpPr>
          <p:nvPr/>
        </p:nvSpPr>
        <p:spPr bwMode="auto">
          <a:xfrm>
            <a:off x="304800" y="39624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3</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1)</a:t>
            </a:r>
          </a:p>
        </p:txBody>
      </p:sp>
      <p:sp>
        <p:nvSpPr>
          <p:cNvPr id="10" name="Abgerundetes Rechteck 9"/>
          <p:cNvSpPr/>
          <p:nvPr/>
        </p:nvSpPr>
        <p:spPr bwMode="auto">
          <a:xfrm>
            <a:off x="304800" y="4724400"/>
            <a:ext cx="8305800" cy="685800"/>
          </a:xfrm>
          <a:prstGeom prst="roundRect">
            <a:avLst/>
          </a:prstGeom>
          <a:solidFill>
            <a:schemeClr val="accent3"/>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25610" name="Rechteck 11"/>
          <p:cNvSpPr>
            <a:spLocks noChangeArrowheads="1"/>
          </p:cNvSpPr>
          <p:nvPr/>
        </p:nvSpPr>
        <p:spPr bwMode="auto">
          <a:xfrm>
            <a:off x="304800" y="47244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4</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2)</a:t>
            </a:r>
          </a:p>
        </p:txBody>
      </p:sp>
    </p:spTree>
    <p:extLst>
      <p:ext uri="{BB962C8B-B14F-4D97-AF65-F5344CB8AC3E}">
        <p14:creationId xmlns:p14="http://schemas.microsoft.com/office/powerpoint/2010/main" val="14564828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el 1"/>
          <p:cNvSpPr>
            <a:spLocks noGrp="1"/>
          </p:cNvSpPr>
          <p:nvPr>
            <p:ph type="title"/>
          </p:nvPr>
        </p:nvSpPr>
        <p:spPr/>
        <p:txBody>
          <a:bodyPr/>
          <a:lstStyle/>
          <a:p>
            <a:r>
              <a:rPr lang="de-DE" altLang="de-DE" dirty="0" smtClean="0">
                <a:latin typeface="Calibri" panose="020F0502020204030204" pitchFamily="34" charset="0"/>
                <a:cs typeface="Calibri" panose="020F0502020204030204" pitchFamily="34" charset="0"/>
              </a:rPr>
              <a:t>Was haben Lehrerinnen und Lehrer von den Modulen?</a:t>
            </a:r>
            <a:br>
              <a:rPr lang="de-DE" altLang="de-DE" dirty="0" smtClean="0">
                <a:latin typeface="Calibri" panose="020F0502020204030204" pitchFamily="34" charset="0"/>
                <a:cs typeface="Calibri" panose="020F0502020204030204" pitchFamily="34" charset="0"/>
              </a:rPr>
            </a:br>
            <a:endParaRPr lang="de-DE" altLang="de-DE" sz="2000" i="1" dirty="0" smtClean="0">
              <a:latin typeface="Calibri" panose="020F0502020204030204" pitchFamily="34" charset="0"/>
              <a:cs typeface="Calibri" panose="020F0502020204030204" pitchFamily="34" charset="0"/>
            </a:endParaRPr>
          </a:p>
        </p:txBody>
      </p:sp>
      <p:sp>
        <p:nvSpPr>
          <p:cNvPr id="3" name="Inhaltsplatzhalter 2"/>
          <p:cNvSpPr>
            <a:spLocks noGrp="1"/>
          </p:cNvSpPr>
          <p:nvPr>
            <p:ph sz="half" idx="1"/>
          </p:nvPr>
        </p:nvSpPr>
        <p:spPr>
          <a:xfrm>
            <a:off x="381000" y="1828800"/>
            <a:ext cx="8229600" cy="4648200"/>
          </a:xfrm>
        </p:spPr>
        <p:txBody>
          <a:bodyPr/>
          <a:lstStyle/>
          <a:p>
            <a:pPr marL="263525" indent="-263525"/>
            <a:r>
              <a:rPr lang="de-DE" altLang="de-DE" sz="1800" dirty="0" smtClean="0">
                <a:latin typeface="Calibri" panose="020F0502020204030204" pitchFamily="34" charset="0"/>
                <a:cs typeface="Calibri" panose="020F0502020204030204" pitchFamily="34" charset="0"/>
              </a:rPr>
              <a:t>Sie lernen…</a:t>
            </a:r>
          </a:p>
          <a:p>
            <a:pPr marL="263525" indent="-263525">
              <a:buFontTx/>
              <a:buChar char="•"/>
            </a:pPr>
            <a:r>
              <a:rPr lang="de-DE" altLang="de-DE" sz="1800" dirty="0" smtClean="0">
                <a:latin typeface="Calibri" panose="020F0502020204030204" pitchFamily="34" charset="0"/>
                <a:cs typeface="Calibri" panose="020F0502020204030204" pitchFamily="34" charset="0"/>
              </a:rPr>
              <a:t>wie Teamarbeit bei individueller Förderung behilflich sein kann und sie entlastet.</a:t>
            </a:r>
          </a:p>
          <a:p>
            <a:pPr marL="263525" indent="-263525">
              <a:buFontTx/>
              <a:buChar char="•"/>
            </a:pPr>
            <a:r>
              <a:rPr lang="de-DE" altLang="de-DE" sz="1800" dirty="0" smtClean="0">
                <a:latin typeface="Calibri" panose="020F0502020204030204" pitchFamily="34" charset="0"/>
                <a:cs typeface="Calibri" panose="020F0502020204030204" pitchFamily="34" charset="0"/>
              </a:rPr>
              <a:t>verschiedene Sichtweisen auf ihren Unterricht kennen und welche Stärken der/die Einzelne hat, um Unterricht im Team weiterzuentwickeln.</a:t>
            </a:r>
          </a:p>
          <a:p>
            <a:pPr marL="263525" indent="-263525">
              <a:buFontTx/>
              <a:buChar char="•"/>
            </a:pPr>
            <a:r>
              <a:rPr lang="de-DE" altLang="de-DE" sz="1800" dirty="0" smtClean="0">
                <a:latin typeface="Calibri" panose="020F0502020204030204" pitchFamily="34" charset="0"/>
                <a:cs typeface="Calibri" panose="020F0502020204030204" pitchFamily="34" charset="0"/>
              </a:rPr>
              <a:t>Möglichkeiten kennen, systematischer zu diagnostizieren.</a:t>
            </a:r>
          </a:p>
          <a:p>
            <a:pPr marL="263525" indent="-263525">
              <a:buFontTx/>
              <a:buChar char="•"/>
            </a:pPr>
            <a:r>
              <a:rPr lang="de-DE" altLang="de-DE" sz="1800" dirty="0" smtClean="0">
                <a:latin typeface="Calibri" panose="020F0502020204030204" pitchFamily="34" charset="0"/>
                <a:cs typeface="Calibri" panose="020F0502020204030204" pitchFamily="34" charset="0"/>
              </a:rPr>
              <a:t>wie Schülerinnen und Schüler mit ihren Potenzialen und ihren Einschätzungen besser einbezogen werden können.</a:t>
            </a:r>
          </a:p>
          <a:p>
            <a:pPr marL="263525" indent="-263525">
              <a:buFontTx/>
              <a:buChar char="•"/>
            </a:pPr>
            <a:r>
              <a:rPr lang="de-DE" altLang="de-DE" sz="1800" dirty="0" smtClean="0">
                <a:latin typeface="Calibri" panose="020F0502020204030204" pitchFamily="34" charset="0"/>
                <a:cs typeface="Calibri" panose="020F0502020204030204" pitchFamily="34" charset="0"/>
              </a:rPr>
              <a:t>wie eine stärkere Aktivierung von Schülerinnen und Schülern in unterschiedlichen Lehrerrollen ermöglicht werden kann. </a:t>
            </a:r>
          </a:p>
          <a:p>
            <a:pPr marL="263525" indent="-263525">
              <a:buFontTx/>
              <a:buChar char="•"/>
            </a:pPr>
            <a:r>
              <a:rPr lang="de-DE" altLang="de-DE" sz="1800" dirty="0" smtClean="0">
                <a:latin typeface="Calibri" panose="020F0502020204030204" pitchFamily="34" charset="0"/>
                <a:cs typeface="Calibri" panose="020F0502020204030204" pitchFamily="34" charset="0"/>
              </a:rPr>
              <a:t>welche Unterrichtsmethoden und -materialien in ihren Fächern individualisierend eingesetzt werden können.</a:t>
            </a:r>
          </a:p>
          <a:p>
            <a:pPr>
              <a:buFontTx/>
              <a:buChar char="•"/>
            </a:pPr>
            <a:endParaRPr lang="de-DE" altLang="de-DE" sz="1800" dirty="0" smtClean="0">
              <a:latin typeface="Calibri" panose="020F0502020204030204" pitchFamily="34" charset="0"/>
              <a:cs typeface="Calibri" panose="020F0502020204030204" pitchFamily="34" charset="0"/>
            </a:endParaRPr>
          </a:p>
          <a:p>
            <a:pPr>
              <a:buFontTx/>
              <a:buChar char="•"/>
            </a:pPr>
            <a:endParaRPr lang="de-DE" altLang="de-DE" sz="18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00407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el 4"/>
          <p:cNvSpPr>
            <a:spLocks noGrp="1"/>
          </p:cNvSpPr>
          <p:nvPr>
            <p:ph type="title"/>
          </p:nvPr>
        </p:nvSpPr>
        <p:spPr/>
        <p:txBody>
          <a:bodyPr/>
          <a:lstStyle/>
          <a:p>
            <a:r>
              <a:rPr lang="de-DE" altLang="de-DE" dirty="0" smtClean="0">
                <a:latin typeface="Calibri" panose="020F0502020204030204" pitchFamily="34" charset="0"/>
                <a:cs typeface="Calibri" panose="020F0502020204030204" pitchFamily="34" charset="0"/>
              </a:rPr>
              <a:t>Bestimmte Prinzipien ziehen sich wie ein roter Faden durch alle Module</a:t>
            </a:r>
          </a:p>
        </p:txBody>
      </p:sp>
      <p:sp>
        <p:nvSpPr>
          <p:cNvPr id="57347" name="Inhaltsplatzhalter 5"/>
          <p:cNvSpPr>
            <a:spLocks noGrp="1"/>
          </p:cNvSpPr>
          <p:nvPr>
            <p:ph idx="1"/>
          </p:nvPr>
        </p:nvSpPr>
        <p:spPr/>
        <p:txBody>
          <a:bodyPr/>
          <a:lstStyle/>
          <a:p>
            <a:pPr marL="285750" indent="-285750">
              <a:spcBef>
                <a:spcPct val="0"/>
              </a:spcBef>
              <a:buFontTx/>
              <a:buChar char="•"/>
            </a:pPr>
            <a:r>
              <a:rPr lang="de-DE" altLang="de-DE" b="1" dirty="0" smtClean="0">
                <a:latin typeface="Calibri" panose="020F0502020204030204" pitchFamily="34" charset="0"/>
                <a:cs typeface="Calibri" panose="020F0502020204030204" pitchFamily="34" charset="0"/>
              </a:rPr>
              <a:t>Arbeit in Teams</a:t>
            </a:r>
            <a:r>
              <a:rPr lang="de-DE" altLang="de-DE" dirty="0" smtClean="0">
                <a:latin typeface="Calibri" panose="020F0502020204030204" pitchFamily="34" charset="0"/>
                <a:cs typeface="Calibri" panose="020F0502020204030204" pitchFamily="34" charset="0"/>
              </a:rPr>
              <a:t>: Die Teams variieren je nach Entwicklungsfokus und Bedarfen der Kolleginnen und Kollegen. Es wird in Klassen-, Jahrgangs- oder Fachteams gearbeitet.</a:t>
            </a:r>
          </a:p>
          <a:p>
            <a:pPr marL="285750" indent="-285750">
              <a:spcBef>
                <a:spcPct val="0"/>
              </a:spcBef>
              <a:buFontTx/>
              <a:buChar char="•"/>
            </a:pPr>
            <a:r>
              <a:rPr lang="de-DE" altLang="de-DE" b="1" dirty="0" smtClean="0">
                <a:latin typeface="Calibri" panose="020F0502020204030204" pitchFamily="34" charset="0"/>
                <a:cs typeface="Calibri" panose="020F0502020204030204" pitchFamily="34" charset="0"/>
              </a:rPr>
              <a:t>Kollegiale Unterrichtshospitationen</a:t>
            </a:r>
            <a:r>
              <a:rPr lang="de-DE" altLang="de-DE" dirty="0" smtClean="0">
                <a:latin typeface="Calibri" panose="020F0502020204030204" pitchFamily="34" charset="0"/>
                <a:cs typeface="Calibri" panose="020F0502020204030204" pitchFamily="34" charset="0"/>
              </a:rPr>
              <a:t>: Gegenseitige Hospitationen werden in Modul 1 eingeführt und finden in allen Folgemodulen statt. Die betreffenden Kolleginnen und Kollegen setzen den Beobachtungsfokus selbst fest. Die Auswertung der Hospitationen bildet den Ausgangspunkt für das nächste Entwicklungsvorhaben.</a:t>
            </a:r>
          </a:p>
          <a:p>
            <a:pPr marL="285750" indent="-285750">
              <a:spcBef>
                <a:spcPct val="0"/>
              </a:spcBef>
              <a:buFontTx/>
              <a:buChar char="•"/>
            </a:pPr>
            <a:r>
              <a:rPr lang="de-DE" altLang="de-DE" b="1" dirty="0" smtClean="0">
                <a:latin typeface="Calibri" panose="020F0502020204030204" pitchFamily="34" charset="0"/>
                <a:cs typeface="Calibri" panose="020F0502020204030204" pitchFamily="34" charset="0"/>
              </a:rPr>
              <a:t>Entwicklung entlang des Qualitätszirkels</a:t>
            </a:r>
            <a:r>
              <a:rPr lang="de-DE" altLang="de-DE" dirty="0" smtClean="0">
                <a:latin typeface="Calibri" panose="020F0502020204030204" pitchFamily="34" charset="0"/>
                <a:cs typeface="Calibri" panose="020F0502020204030204" pitchFamily="34" charset="0"/>
              </a:rPr>
              <a:t>: Die Arbeit an Aspekten des Unterrichts folgt immer einem bestimmten Muster: Ist-Stand erheben, Entwicklungsbedarfe klären, Ziele festlegen, Maßnahmen planen, Maßnahmen umsetzen, Wirkung evaluieren.</a:t>
            </a:r>
          </a:p>
        </p:txBody>
      </p:sp>
    </p:spTree>
    <p:extLst>
      <p:ext uri="{BB962C8B-B14F-4D97-AF65-F5344CB8AC3E}">
        <p14:creationId xmlns:p14="http://schemas.microsoft.com/office/powerpoint/2010/main" val="1131838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73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3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73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bgerundetes Rechteck 3"/>
          <p:cNvSpPr>
            <a:spLocks noChangeArrowheads="1"/>
          </p:cNvSpPr>
          <p:nvPr/>
        </p:nvSpPr>
        <p:spPr bwMode="auto">
          <a:xfrm>
            <a:off x="381000" y="2133600"/>
            <a:ext cx="8305800" cy="685800"/>
          </a:xfrm>
          <a:prstGeom prst="roundRect">
            <a:avLst>
              <a:gd name="adj" fmla="val 16667"/>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endParaRPr lang="de-DE" altLang="de-DE" sz="1800" dirty="0"/>
          </a:p>
        </p:txBody>
      </p:sp>
      <p:sp>
        <p:nvSpPr>
          <p:cNvPr id="31747" name="Rechteck 4"/>
          <p:cNvSpPr>
            <a:spLocks noChangeArrowheads="1"/>
          </p:cNvSpPr>
          <p:nvPr/>
        </p:nvSpPr>
        <p:spPr bwMode="auto">
          <a:xfrm>
            <a:off x="381000" y="2133600"/>
            <a:ext cx="5181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1</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Teamentwicklung im Kollegium</a:t>
            </a:r>
          </a:p>
        </p:txBody>
      </p:sp>
      <p:sp>
        <p:nvSpPr>
          <p:cNvPr id="6" name="Abgerundetes Rechteck 5"/>
          <p:cNvSpPr/>
          <p:nvPr/>
        </p:nvSpPr>
        <p:spPr bwMode="auto">
          <a:xfrm>
            <a:off x="381000" y="2895600"/>
            <a:ext cx="8305800" cy="685800"/>
          </a:xfrm>
          <a:prstGeom prst="roundRect">
            <a:avLst/>
          </a:prstGeom>
          <a:solidFill>
            <a:schemeClr val="accent4">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31749" name="Rechteck 6"/>
          <p:cNvSpPr>
            <a:spLocks noChangeArrowheads="1"/>
          </p:cNvSpPr>
          <p:nvPr/>
        </p:nvSpPr>
        <p:spPr bwMode="auto">
          <a:xfrm>
            <a:off x="381000" y="2895600"/>
            <a:ext cx="7239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2 </a:t>
            </a:r>
            <a:r>
              <a:rPr lang="de-DE" altLang="de-DE" sz="1700" dirty="0">
                <a:solidFill>
                  <a:srgbClr val="FFFFFF"/>
                </a:solidFill>
                <a:latin typeface="Calibri" panose="020F0502020204030204" pitchFamily="34" charset="0"/>
              </a:rPr>
              <a:t/>
            </a:r>
            <a:br>
              <a:rPr lang="de-DE" altLang="de-DE" sz="1700"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Identifizierung von Potenzialen und Interessen/Evaluation (Diagnostik)</a:t>
            </a:r>
          </a:p>
        </p:txBody>
      </p:sp>
      <p:sp>
        <p:nvSpPr>
          <p:cNvPr id="8" name="Abgerundetes Rechteck 7"/>
          <p:cNvSpPr/>
          <p:nvPr/>
        </p:nvSpPr>
        <p:spPr bwMode="auto">
          <a:xfrm>
            <a:off x="381000" y="3657600"/>
            <a:ext cx="8305800" cy="685800"/>
          </a:xfrm>
          <a:prstGeom prst="roundRect">
            <a:avLst/>
          </a:prstGeom>
          <a:solidFill>
            <a:schemeClr val="accent3">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31751" name="Rechteck 8"/>
          <p:cNvSpPr>
            <a:spLocks noChangeArrowheads="1"/>
          </p:cNvSpPr>
          <p:nvPr/>
        </p:nvSpPr>
        <p:spPr bwMode="auto">
          <a:xfrm>
            <a:off x="381000" y="3657600"/>
            <a:ext cx="8153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3</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1)</a:t>
            </a:r>
          </a:p>
        </p:txBody>
      </p:sp>
      <p:sp>
        <p:nvSpPr>
          <p:cNvPr id="10" name="Abgerundetes Rechteck 9"/>
          <p:cNvSpPr/>
          <p:nvPr/>
        </p:nvSpPr>
        <p:spPr bwMode="auto">
          <a:xfrm>
            <a:off x="381000" y="4419600"/>
            <a:ext cx="8305800" cy="685800"/>
          </a:xfrm>
          <a:prstGeom prst="roundRect">
            <a:avLst/>
          </a:prstGeom>
          <a:solidFill>
            <a:schemeClr val="accent3">
              <a:alpha val="20000"/>
            </a:schemeClr>
          </a:solidFill>
          <a:ln w="12700" cap="flat" cmpd="sng" algn="ctr">
            <a:noFill/>
            <a:prstDash val="solid"/>
            <a:round/>
            <a:headEnd type="none" w="med" len="med"/>
            <a:tailEnd type="none" w="med" len="med"/>
          </a:ln>
          <a:effectLst/>
        </p:spPr>
        <p:txBody>
          <a:bodyPr lIns="0" tIns="0" rIns="0" bIns="0" anchor="ctr"/>
          <a:lstStyle/>
          <a:p>
            <a:pPr algn="ctr" eaLnBrk="0" hangingPunct="0">
              <a:defRPr/>
            </a:pPr>
            <a:endParaRPr lang="de-DE" sz="1800" dirty="0">
              <a:latin typeface="Arial" charset="0"/>
              <a:ea typeface="ＭＳ Ｐゴシック" charset="0"/>
              <a:cs typeface="ＭＳ Ｐゴシック" charset="0"/>
            </a:endParaRPr>
          </a:p>
        </p:txBody>
      </p:sp>
      <p:sp>
        <p:nvSpPr>
          <p:cNvPr id="31753" name="Rechteck 11"/>
          <p:cNvSpPr>
            <a:spLocks noChangeArrowheads="1"/>
          </p:cNvSpPr>
          <p:nvPr/>
        </p:nvSpPr>
        <p:spPr bwMode="auto">
          <a:xfrm>
            <a:off x="381000" y="44196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de-DE" altLang="de-DE" sz="1700" b="1" dirty="0">
                <a:solidFill>
                  <a:srgbClr val="FFFFFF"/>
                </a:solidFill>
                <a:latin typeface="Calibri" panose="020F0502020204030204" pitchFamily="34" charset="0"/>
              </a:rPr>
              <a:t>Modul 4</a:t>
            </a:r>
            <a:br>
              <a:rPr lang="de-DE" altLang="de-DE" sz="1700" b="1" dirty="0">
                <a:solidFill>
                  <a:srgbClr val="FFFFFF"/>
                </a:solidFill>
                <a:latin typeface="Calibri" panose="020F0502020204030204" pitchFamily="34" charset="0"/>
              </a:rPr>
            </a:br>
            <a:r>
              <a:rPr lang="de-DE" altLang="de-DE" sz="1700" dirty="0">
                <a:solidFill>
                  <a:srgbClr val="FFFFFF"/>
                </a:solidFill>
                <a:latin typeface="Calibri" panose="020F0502020204030204" pitchFamily="34" charset="0"/>
              </a:rPr>
              <a:t>Lernen und Lehren – Potenziale fördern und kompetenzorientiert unterrichten (Didaktik 2)</a:t>
            </a:r>
          </a:p>
        </p:txBody>
      </p:sp>
    </p:spTree>
    <p:extLst>
      <p:ext uri="{BB962C8B-B14F-4D97-AF65-F5344CB8AC3E}">
        <p14:creationId xmlns:p14="http://schemas.microsoft.com/office/powerpoint/2010/main" val="23875754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p:cNvSpPr/>
          <p:nvPr/>
        </p:nvSpPr>
        <p:spPr>
          <a:xfrm>
            <a:off x="4552950" y="1543050"/>
            <a:ext cx="3219855" cy="16764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aphicFrame>
        <p:nvGraphicFramePr>
          <p:cNvPr id="22" name="Diagramm 21"/>
          <p:cNvGraphicFramePr/>
          <p:nvPr>
            <p:custDataLst>
              <p:tags r:id="rId1"/>
            </p:custDataLst>
            <p:extLst>
              <p:ext uri="{D42A27DB-BD31-4B8C-83A1-F6EECF244321}">
                <p14:modId xmlns:p14="http://schemas.microsoft.com/office/powerpoint/2010/main" val="1177823731"/>
              </p:ext>
            </p:extLst>
          </p:nvPr>
        </p:nvGraphicFramePr>
        <p:xfrm>
          <a:off x="381000" y="2057400"/>
          <a:ext cx="8382000" cy="45501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el 2"/>
          <p:cNvSpPr>
            <a:spLocks noGrp="1"/>
          </p:cNvSpPr>
          <p:nvPr>
            <p:ph type="title"/>
          </p:nvPr>
        </p:nvSpPr>
        <p:spPr/>
        <p:txBody>
          <a:bodyPr/>
          <a:lstStyle/>
          <a:p>
            <a:r>
              <a:rPr lang="de-DE" dirty="0"/>
              <a:t>Kooperative Unterrichtsentwicklung durch </a:t>
            </a:r>
            <a:br>
              <a:rPr lang="de-DE" dirty="0"/>
            </a:br>
            <a:r>
              <a:rPr lang="de-DE" dirty="0"/>
              <a:t>kollegiale Teams: Bausteine</a:t>
            </a:r>
          </a:p>
        </p:txBody>
      </p:sp>
    </p:spTree>
    <p:extLst>
      <p:ext uri="{BB962C8B-B14F-4D97-AF65-F5344CB8AC3E}">
        <p14:creationId xmlns:p14="http://schemas.microsoft.com/office/powerpoint/2010/main" val="30654439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PALETTEDESIGNATOR" val="BSt"/>
  <p:tag name="EXTENDEDCOLORPALETTEDESIGNATOR" val="BSt"/>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1.00000000000000000000E+000&quot;&gt;&lt;m_ppcolschidx val=&quot;0&quot;/&gt;&lt;m_rgb r=&quot;2c&quot; g=&quot;2c&quot; b=&quot;54&quot;/&gt;&lt;/elem&gt;&lt;elem m_fUsage=&quot;9.00000000000000020000E-001&quot;&gt;&lt;m_ppcolschidx val=&quot;0&quot;/&gt;&lt;m_rgb r=&quot;58&quot; g=&quot;ab&quot; b=&quot;ab&quot;/&gt;&lt;/elem&gt;&lt;/m_vecMRU&gt;&lt;/m_mruColor&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d.%#m.%y&lt;/m_strFormatTime&gt;&lt;/m_precDefault&gt;&lt;/CDefaultPrec&gt;&lt;CDefaultPrec id=&quot;3&quot;&gt;&lt;m_precDefault/&gt;&lt;/CDefaultPrec&gt;&lt;CDefaultPrec id=&quot;2&quot;&gt;&lt;m_precDefault/&gt;&lt;/CDefaultPrec&gt;&lt;/root&gt;"/>
  <p:tag name="THINKCELLUNDODONOTDELETE" val="7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J4h4J0YskiZjgKdc7VX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design">
  <a:themeElements>
    <a:clrScheme name="Benutzerdefiniert 2">
      <a:dk1>
        <a:srgbClr val="003264"/>
      </a:dk1>
      <a:lt1>
        <a:srgbClr val="FFFFFF"/>
      </a:lt1>
      <a:dk2>
        <a:srgbClr val="DDDDDD"/>
      </a:dk2>
      <a:lt2>
        <a:srgbClr val="E3EBF1"/>
      </a:lt2>
      <a:accent1>
        <a:srgbClr val="7CAFCB"/>
      </a:accent1>
      <a:accent2>
        <a:srgbClr val="DD2722"/>
      </a:accent2>
      <a:accent3>
        <a:srgbClr val="BF5096"/>
      </a:accent3>
      <a:accent4>
        <a:srgbClr val="F19829"/>
      </a:accent4>
      <a:accent5>
        <a:srgbClr val="6DAA31"/>
      </a:accent5>
      <a:accent6>
        <a:srgbClr val="FBDC2F"/>
      </a:accent6>
      <a:hlink>
        <a:srgbClr val="003264"/>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DDDDDD"/>
        </a:dk2>
        <a:lt2>
          <a:srgbClr val="C80F41"/>
        </a:lt2>
        <a:accent1>
          <a:srgbClr val="91C8C8"/>
        </a:accent1>
        <a:accent2>
          <a:srgbClr val="CCCC9A"/>
        </a:accent2>
        <a:accent3>
          <a:srgbClr val="FFFFFF"/>
        </a:accent3>
        <a:accent4>
          <a:srgbClr val="000000"/>
        </a:accent4>
        <a:accent5>
          <a:srgbClr val="C7E0E0"/>
        </a:accent5>
        <a:accent6>
          <a:srgbClr val="B9B98B"/>
        </a:accent6>
        <a:hlink>
          <a:srgbClr val="003264"/>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enutzerdefiniertes Design">
  <a:themeElements>
    <a:clrScheme name="Vielfalt fördern 1">
      <a:dk1>
        <a:srgbClr val="003264"/>
      </a:dk1>
      <a:lt1>
        <a:srgbClr val="FFFFFF"/>
      </a:lt1>
      <a:dk2>
        <a:srgbClr val="DDDDDD"/>
      </a:dk2>
      <a:lt2>
        <a:srgbClr val="E3EBF1"/>
      </a:lt2>
      <a:accent1>
        <a:srgbClr val="64C9F0"/>
      </a:accent1>
      <a:accent2>
        <a:srgbClr val="DD2722"/>
      </a:accent2>
      <a:accent3>
        <a:srgbClr val="BF5096"/>
      </a:accent3>
      <a:accent4>
        <a:srgbClr val="F19829"/>
      </a:accent4>
      <a:accent5>
        <a:srgbClr val="6DAA31"/>
      </a:accent5>
      <a:accent6>
        <a:srgbClr val="FBDC2F"/>
      </a:accent6>
      <a:hlink>
        <a:srgbClr val="003264"/>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teuergruppenqualifizierung">
  <a:themeElements>
    <a:clrScheme name="Designvorlage_BRDT 13">
      <a:dk1>
        <a:srgbClr val="000000"/>
      </a:dk1>
      <a:lt1>
        <a:srgbClr val="FFFFFF"/>
      </a:lt1>
      <a:dk2>
        <a:srgbClr val="E2001A"/>
      </a:dk2>
      <a:lt2>
        <a:srgbClr val="009036"/>
      </a:lt2>
      <a:accent1>
        <a:srgbClr val="ACACAC"/>
      </a:accent1>
      <a:accent2>
        <a:srgbClr val="F29400"/>
      </a:accent2>
      <a:accent3>
        <a:srgbClr val="FFFFFF"/>
      </a:accent3>
      <a:accent4>
        <a:srgbClr val="000000"/>
      </a:accent4>
      <a:accent5>
        <a:srgbClr val="D2D2D2"/>
      </a:accent5>
      <a:accent6>
        <a:srgbClr val="DB8600"/>
      </a:accent6>
      <a:hlink>
        <a:srgbClr val="B1C800"/>
      </a:hlink>
      <a:folHlink>
        <a:srgbClr val="E75112"/>
      </a:folHlink>
    </a:clrScheme>
    <a:fontScheme name="Designvorlage_BRDT">
      <a:majorFont>
        <a:latin typeface="Arial-BoldMT"/>
        <a:ea typeface=""/>
        <a:cs typeface=""/>
      </a:majorFont>
      <a:minorFont>
        <a:latin typeface="Arial-BoldM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signvorlage_BRD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vorlage_BRD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vorlage_BRD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vorlage_BRD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vorlage_BRD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vorlage_BRD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vorlage_BRD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vorlage_BRD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vorlage_BRD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vorlage_BRD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vorlage_BRD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vorlage_BRD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signvorlage_BRDT 13">
        <a:dk1>
          <a:srgbClr val="000000"/>
        </a:dk1>
        <a:lt1>
          <a:srgbClr val="FFFFFF"/>
        </a:lt1>
        <a:dk2>
          <a:srgbClr val="E2001A"/>
        </a:dk2>
        <a:lt2>
          <a:srgbClr val="009036"/>
        </a:lt2>
        <a:accent1>
          <a:srgbClr val="ACACAC"/>
        </a:accent1>
        <a:accent2>
          <a:srgbClr val="F29400"/>
        </a:accent2>
        <a:accent3>
          <a:srgbClr val="FFFFFF"/>
        </a:accent3>
        <a:accent4>
          <a:srgbClr val="000000"/>
        </a:accent4>
        <a:accent5>
          <a:srgbClr val="D2D2D2"/>
        </a:accent5>
        <a:accent6>
          <a:srgbClr val="DB8600"/>
        </a:accent6>
        <a:hlink>
          <a:srgbClr val="B1C800"/>
        </a:hlink>
        <a:folHlink>
          <a:srgbClr val="E7511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Standarddesign">
  <a:themeElements>
    <a:clrScheme name="Benutzerdefiniert 2">
      <a:dk1>
        <a:srgbClr val="003264"/>
      </a:dk1>
      <a:lt1>
        <a:srgbClr val="FFFFFF"/>
      </a:lt1>
      <a:dk2>
        <a:srgbClr val="DDDDDD"/>
      </a:dk2>
      <a:lt2>
        <a:srgbClr val="E3EBF1"/>
      </a:lt2>
      <a:accent1>
        <a:srgbClr val="7CAFCB"/>
      </a:accent1>
      <a:accent2>
        <a:srgbClr val="DD2722"/>
      </a:accent2>
      <a:accent3>
        <a:srgbClr val="BF5096"/>
      </a:accent3>
      <a:accent4>
        <a:srgbClr val="F19829"/>
      </a:accent4>
      <a:accent5>
        <a:srgbClr val="6DAA31"/>
      </a:accent5>
      <a:accent6>
        <a:srgbClr val="FBDC2F"/>
      </a:accent6>
      <a:hlink>
        <a:srgbClr val="003264"/>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DDDDDD"/>
        </a:dk2>
        <a:lt2>
          <a:srgbClr val="C80F41"/>
        </a:lt2>
        <a:accent1>
          <a:srgbClr val="91C8C8"/>
        </a:accent1>
        <a:accent2>
          <a:srgbClr val="CCCC9A"/>
        </a:accent2>
        <a:accent3>
          <a:srgbClr val="FFFFFF"/>
        </a:accent3>
        <a:accent4>
          <a:srgbClr val="000000"/>
        </a:accent4>
        <a:accent5>
          <a:srgbClr val="C7E0E0"/>
        </a:accent5>
        <a:accent6>
          <a:srgbClr val="B9B98B"/>
        </a:accent6>
        <a:hlink>
          <a:srgbClr val="003264"/>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Standarddesign">
  <a:themeElements>
    <a:clrScheme name="Benutzerdefiniert 2">
      <a:dk1>
        <a:srgbClr val="003264"/>
      </a:dk1>
      <a:lt1>
        <a:srgbClr val="FFFFFF"/>
      </a:lt1>
      <a:dk2>
        <a:srgbClr val="DDDDDD"/>
      </a:dk2>
      <a:lt2>
        <a:srgbClr val="E3EBF1"/>
      </a:lt2>
      <a:accent1>
        <a:srgbClr val="7CAFCB"/>
      </a:accent1>
      <a:accent2>
        <a:srgbClr val="DD2722"/>
      </a:accent2>
      <a:accent3>
        <a:srgbClr val="BF5096"/>
      </a:accent3>
      <a:accent4>
        <a:srgbClr val="F19829"/>
      </a:accent4>
      <a:accent5>
        <a:srgbClr val="6DAA31"/>
      </a:accent5>
      <a:accent6>
        <a:srgbClr val="FBDC2F"/>
      </a:accent6>
      <a:hlink>
        <a:srgbClr val="003264"/>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DDDDDD"/>
        </a:dk2>
        <a:lt2>
          <a:srgbClr val="C80F41"/>
        </a:lt2>
        <a:accent1>
          <a:srgbClr val="91C8C8"/>
        </a:accent1>
        <a:accent2>
          <a:srgbClr val="CCCC9A"/>
        </a:accent2>
        <a:accent3>
          <a:srgbClr val="FFFFFF"/>
        </a:accent3>
        <a:accent4>
          <a:srgbClr val="000000"/>
        </a:accent4>
        <a:accent5>
          <a:srgbClr val="C7E0E0"/>
        </a:accent5>
        <a:accent6>
          <a:srgbClr val="B9B98B"/>
        </a:accent6>
        <a:hlink>
          <a:srgbClr val="003264"/>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2cb3c7e7-15a3-44e8-82c5-84198a232de3" ContentTypeId="0x010100C64714D3303144EA857505AF7D511DD6" PreviousValue="false"/>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PowerPoint" ma:contentTypeID="0x010100C64714D3303144EA857505AF7D511DD600C8A85CE48EF74B4EBF252DCD580682EC" ma:contentTypeVersion="8" ma:contentTypeDescription="" ma:contentTypeScope="" ma:versionID="5b46fb244993521ef9c54df9f9aae8af">
  <xsd:schema xmlns:xsd="http://www.w3.org/2001/XMLSchema" xmlns:xs="http://www.w3.org/2001/XMLSchema" xmlns:p="http://schemas.microsoft.com/office/2006/metadata/properties" targetNamespace="http://schemas.microsoft.com/office/2006/metadata/properties" ma:root="true" ma:fieldsID="b4f5dc90cf06628c3b90945c8266c24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592CC0-FBA5-435B-8D8F-0AC629DD5C14}">
  <ds:schemaRefs>
    <ds:schemaRef ds:uri="Microsoft.SharePoint.Taxonomy.ContentTypeSync"/>
  </ds:schemaRefs>
</ds:datastoreItem>
</file>

<file path=customXml/itemProps2.xml><?xml version="1.0" encoding="utf-8"?>
<ds:datastoreItem xmlns:ds="http://schemas.openxmlformats.org/officeDocument/2006/customXml" ds:itemID="{88FA34A6-AFF4-4C11-B5E4-30E3BC76B581}">
  <ds:schemaRefs>
    <ds:schemaRef ds:uri="http://purl.org/dc/dcmitype/"/>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7A1120BD-4280-4A24-A645-B8BB31B37BB2}">
  <ds:schemaRefs>
    <ds:schemaRef ds:uri="http://schemas.microsoft.com/sharepoint/v3/contenttype/forms"/>
  </ds:schemaRefs>
</ds:datastoreItem>
</file>

<file path=customXml/itemProps4.xml><?xml version="1.0" encoding="utf-8"?>
<ds:datastoreItem xmlns:ds="http://schemas.openxmlformats.org/officeDocument/2006/customXml" ds:itemID="{C58F571B-2F5C-42D7-8207-4B7A9F6653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1460</Words>
  <Application>Microsoft Office PowerPoint</Application>
  <PresentationFormat>Bildschirmpräsentation (4:3)</PresentationFormat>
  <Paragraphs>300</Paragraphs>
  <Slides>26</Slides>
  <Notes>3</Notes>
  <HiddenSlides>0</HiddenSlides>
  <MMClips>0</MMClips>
  <ScaleCrop>false</ScaleCrop>
  <HeadingPairs>
    <vt:vector size="8" baseType="variant">
      <vt:variant>
        <vt:lpstr>Verwendete Schriftarten</vt:lpstr>
      </vt:variant>
      <vt:variant>
        <vt:i4>9</vt:i4>
      </vt:variant>
      <vt:variant>
        <vt:lpstr>Design</vt:lpstr>
      </vt:variant>
      <vt:variant>
        <vt:i4>5</vt:i4>
      </vt:variant>
      <vt:variant>
        <vt:lpstr>Eingebettete OLE-Server</vt:lpstr>
      </vt:variant>
      <vt:variant>
        <vt:i4>1</vt:i4>
      </vt:variant>
      <vt:variant>
        <vt:lpstr>Folientitel</vt:lpstr>
      </vt:variant>
      <vt:variant>
        <vt:i4>26</vt:i4>
      </vt:variant>
    </vt:vector>
  </HeadingPairs>
  <TitlesOfParts>
    <vt:vector size="41" baseType="lpstr">
      <vt:lpstr>ＭＳ Ｐゴシック</vt:lpstr>
      <vt:lpstr>ＭＳ Ｐゴシック</vt:lpstr>
      <vt:lpstr>Arial</vt:lpstr>
      <vt:lpstr>Arial-BoldMT</vt:lpstr>
      <vt:lpstr>Calibri</vt:lpstr>
      <vt:lpstr>Helvetica Neue</vt:lpstr>
      <vt:lpstr>Latha</vt:lpstr>
      <vt:lpstr>Symbol</vt:lpstr>
      <vt:lpstr>Wingdings</vt:lpstr>
      <vt:lpstr>Standarddesign</vt:lpstr>
      <vt:lpstr>Benutzerdefiniertes Design</vt:lpstr>
      <vt:lpstr>Steuergruppenqualifizierung</vt:lpstr>
      <vt:lpstr>6_Standarddesign</vt:lpstr>
      <vt:lpstr>7_Standarddesign</vt:lpstr>
      <vt:lpstr>think-cell Folie</vt:lpstr>
      <vt:lpstr>  Vielfalt fördern  Basisinformationen zur Fortbildung </vt:lpstr>
      <vt:lpstr>Genese</vt:lpstr>
      <vt:lpstr>Insgesamt sind 32 Regionen in Vielfalt fördern</vt:lpstr>
      <vt:lpstr>Vielfalt fördern ist ein Unterrichtsentwicklungsprojekt</vt:lpstr>
      <vt:lpstr>Die vier inhaltlichen Module der Qualifizierung zielen auf eine systematische Weiterentwicklung von individuell förderndem Unterricht</vt:lpstr>
      <vt:lpstr>Was haben Lehrerinnen und Lehrer von den Modulen? </vt:lpstr>
      <vt:lpstr>Bestimmte Prinzipien ziehen sich wie ein roter Faden durch alle Module</vt:lpstr>
      <vt:lpstr>PowerPoint-Präsentation</vt:lpstr>
      <vt:lpstr>Kooperative Unterrichtsentwicklung durch  kollegiale Teams: Bausteine</vt:lpstr>
      <vt:lpstr>PowerPoint-Präsentation</vt:lpstr>
      <vt:lpstr>Kooperative Unterrichtsentwicklung durch  kollegiale Teams: Warum am Anfang der Fortbildung?</vt:lpstr>
      <vt:lpstr>PowerPoint-Präsentation</vt:lpstr>
      <vt:lpstr>PowerPoint-Präsentation</vt:lpstr>
      <vt:lpstr>Modul 2: Identifizierung von Potenzialen und Interessen/Evaluation (Diagnostik) </vt:lpstr>
      <vt:lpstr>PowerPoint-Präsentation</vt:lpstr>
      <vt:lpstr>PowerPoint-Präsentation</vt:lpstr>
      <vt:lpstr>Modul 3: Lernen und Lehren: Potenziale fördern und kompetenzorientiert unterrichten I </vt:lpstr>
      <vt:lpstr>Modul 4: Lernen und Lehren: Potenziale fördern und kompetenzorientiert unterrichten II</vt:lpstr>
      <vt:lpstr>PowerPoint-Präsentation</vt:lpstr>
      <vt:lpstr>PowerPoint-Präsentation</vt:lpstr>
      <vt:lpstr>PowerPoint-Präsentation</vt:lpstr>
      <vt:lpstr>PowerPoint-Präsentation</vt:lpstr>
      <vt:lpstr>Aufbau der Qualifizierung</vt:lpstr>
      <vt:lpstr>Gesamtkollegien haben Vorrang. Der Einstieg von Teilkollegien ist an bestimmte Voraussetzungen gebunden. (1/2)</vt:lpstr>
      <vt:lpstr>Gesamtkollegien haben Vorrang. Der Einstieg von Teilkollegien ist an bestimmte Voraussetzungen gebunden. (2/2)</vt:lpstr>
      <vt:lpstr>PowerPoint-Präsentation</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subject/>
  <dc:creator/>
  <cp:keywords/>
  <dc:description/>
  <cp:lastModifiedBy/>
  <cp:revision>92</cp:revision>
  <dcterms:created xsi:type="dcterms:W3CDTF">2013-01-10T14:36:04Z</dcterms:created>
  <dcterms:modified xsi:type="dcterms:W3CDTF">2016-07-20T09:47:5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Template">
    <vt:lpwstr>2.0</vt:lpwstr>
  </property>
  <property fmtid="{D5CDD505-2E9C-101B-9397-08002B2CF9AE}" pid="3" name="Project">
    <vt:lpwstr/>
  </property>
  <property fmtid="{D5CDD505-2E9C-101B-9397-08002B2CF9AE}" pid="4" name="Template">
    <vt:lpwstr>BSt_template.potx</vt:lpwstr>
  </property>
  <property fmtid="{D5CDD505-2E9C-101B-9397-08002B2CF9AE}" pid="5" name="Date">
    <vt:lpwstr> </vt:lpwstr>
  </property>
  <property fmtid="{D5CDD505-2E9C-101B-9397-08002B2CF9AE}" pid="6" name="ContentTypeId">
    <vt:lpwstr>0x010100C64714D3303144EA857505AF7D511DD600C8A85CE48EF74B4EBF252DCD580682EC</vt:lpwstr>
  </property>
</Properties>
</file>